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67" r:id="rId3"/>
    <p:sldId id="268" r:id="rId4"/>
    <p:sldId id="269" r:id="rId5"/>
    <p:sldId id="258" r:id="rId6"/>
    <p:sldId id="261" r:id="rId7"/>
    <p:sldId id="260" r:id="rId8"/>
    <p:sldId id="263" r:id="rId9"/>
    <p:sldId id="264" r:id="rId10"/>
    <p:sldId id="265" r:id="rId11"/>
    <p:sldId id="266" r:id="rId12"/>
    <p:sldId id="259" r:id="rId13"/>
    <p:sldId id="26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4817"/>
    <a:srgbClr val="FF6600"/>
    <a:srgbClr val="E92E53"/>
    <a:srgbClr val="FF0000"/>
    <a:srgbClr val="FFCC00"/>
    <a:srgbClr val="E63637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5" autoAdjust="0"/>
    <p:restoredTop sz="91945" autoAdjust="0"/>
  </p:normalViewPr>
  <p:slideViewPr>
    <p:cSldViewPr snapToGrid="0" snapToObjects="1">
      <p:cViewPr varScale="1">
        <p:scale>
          <a:sx n="86" d="100"/>
          <a:sy n="86" d="100"/>
        </p:scale>
        <p:origin x="102" y="474"/>
      </p:cViewPr>
      <p:guideLst>
        <p:guide orient="horz" pos="2160"/>
        <p:guide pos="3840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8346"/>
    </p:cViewPr>
  </p:sorterViewPr>
  <p:notesViewPr>
    <p:cSldViewPr snapToGrid="0" snapToObjects="1">
      <p:cViewPr varScale="1">
        <p:scale>
          <a:sx n="114" d="100"/>
          <a:sy n="114" d="100"/>
        </p:scale>
        <p:origin x="52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C0F43-ED88-9B48-836B-6DEC6337B5C6}" type="datetimeFigureOut">
              <a:rPr lang="en-US" smtClean="0"/>
              <a:t>7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e-IL" smtClean="0"/>
              <a:t>Click to edit Master text styles</a:t>
            </a:r>
          </a:p>
          <a:p>
            <a:pPr lvl="1"/>
            <a:r>
              <a:rPr lang="he-IL" smtClean="0"/>
              <a:t>Second level</a:t>
            </a:r>
          </a:p>
          <a:p>
            <a:pPr lvl="2"/>
            <a:r>
              <a:rPr lang="he-IL" smtClean="0"/>
              <a:t>Third level</a:t>
            </a:r>
          </a:p>
          <a:p>
            <a:pPr lvl="3"/>
            <a:r>
              <a:rPr lang="he-IL" smtClean="0"/>
              <a:t>Fourth level</a:t>
            </a:r>
          </a:p>
          <a:p>
            <a:pPr lvl="4"/>
            <a:r>
              <a:rPr lang="he-IL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79B4D4-0913-8344-AEAE-F95D45046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210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88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3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0791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353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8982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s://documenter.getpostman.com/view/132405/slice-management-api-copy/RVuABRv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68F246-B3C9-412E-BD0E-C290D7FBC3C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674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6667" y="3723700"/>
            <a:ext cx="3802620" cy="504053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2477" y="1367189"/>
            <a:ext cx="7097948" cy="138524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60165" y="-1889354"/>
            <a:ext cx="4913523" cy="6513086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85313" y="4735901"/>
            <a:ext cx="8191354" cy="840087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85313" y="5687427"/>
            <a:ext cx="8191354" cy="618481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515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201271"/>
            <a:ext cx="10515600" cy="497569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Master text styles</a:t>
            </a:r>
          </a:p>
          <a:p>
            <a:pPr lvl="1"/>
            <a:r>
              <a:rPr lang="en-US" dirty="0" smtClean="0"/>
              <a:t>Second </a:t>
            </a:r>
            <a:r>
              <a:rPr lang="en-US" dirty="0" err="1" smtClean="0"/>
              <a:t>levelx</a:t>
            </a:r>
            <a:endParaRPr lang="en-US" dirty="0" smtClean="0"/>
          </a:p>
          <a:p>
            <a:pPr lvl="2"/>
            <a:r>
              <a:rPr lang="en-US" dirty="0" smtClean="0"/>
              <a:t>Third </a:t>
            </a:r>
            <a:r>
              <a:rPr lang="en-US" dirty="0" err="1" smtClean="0"/>
              <a:t>levelx</a:t>
            </a:r>
            <a:endParaRPr lang="en-US" dirty="0" smtClean="0"/>
          </a:p>
          <a:p>
            <a:pPr lvl="3"/>
            <a:r>
              <a:rPr lang="en-US" dirty="0" smtClean="0"/>
              <a:t>Fourth </a:t>
            </a:r>
            <a:r>
              <a:rPr lang="en-US" dirty="0" err="1" smtClean="0"/>
              <a:t>levelx</a:t>
            </a:r>
            <a:endParaRPr lang="en-US" dirty="0" smtClean="0"/>
          </a:p>
          <a:p>
            <a:pPr lvl="4"/>
            <a:r>
              <a:rPr lang="en-US" dirty="0" smtClean="0"/>
              <a:t>Fifth </a:t>
            </a:r>
            <a:r>
              <a:rPr lang="en-US" dirty="0" err="1" smtClean="0"/>
              <a:t>levelx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9119" y="6288087"/>
            <a:ext cx="2134681" cy="501650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4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3133" y="6356716"/>
            <a:ext cx="414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dirty="0" smtClean="0"/>
              <a:t>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49"/>
            <a:ext cx="12008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D9EE6-BE68-AA43-800B-9255F837AE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658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08671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053388"/>
            <a:ext cx="5157787" cy="4136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0612" y="1229476"/>
            <a:ext cx="5183188" cy="80310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4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0"/>
          </p:nvPr>
        </p:nvSpPr>
        <p:spPr>
          <a:xfrm>
            <a:off x="6170612" y="2053388"/>
            <a:ext cx="5183188" cy="4136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3133" y="6356716"/>
            <a:ext cx="414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dirty="0" smtClean="0"/>
              <a:t>.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49"/>
            <a:ext cx="12008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D9EE6-BE68-AA43-800B-9255F837AE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392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8891" y="456135"/>
            <a:ext cx="10736445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48" indent="0" algn="ctr">
              <a:buNone/>
              <a:defRPr sz="2597"/>
            </a:lvl2pPr>
            <a:lvl3pPr marL="1187293" indent="0" algn="ctr">
              <a:buNone/>
              <a:defRPr sz="2337"/>
            </a:lvl3pPr>
            <a:lvl4pPr marL="1780942" indent="0" algn="ctr">
              <a:buNone/>
              <a:defRPr sz="2079"/>
            </a:lvl4pPr>
            <a:lvl5pPr marL="2374589" indent="0" algn="ctr">
              <a:buNone/>
              <a:defRPr sz="2079"/>
            </a:lvl5pPr>
            <a:lvl6pPr marL="2968235" indent="0" algn="ctr">
              <a:buNone/>
              <a:defRPr sz="2079"/>
            </a:lvl6pPr>
            <a:lvl7pPr marL="3561882" indent="0" algn="ctr">
              <a:buNone/>
              <a:defRPr sz="2079"/>
            </a:lvl7pPr>
            <a:lvl8pPr marL="4155531" indent="0" algn="ctr">
              <a:buNone/>
              <a:defRPr sz="2079"/>
            </a:lvl8pPr>
            <a:lvl9pPr marL="4749176" indent="0" algn="ctr">
              <a:buNone/>
              <a:defRPr sz="2079"/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25739" y="1501989"/>
            <a:ext cx="10729365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06" algn="ctr"/>
              </a:tabLst>
              <a:defRPr sz="17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2pPr>
            <a:lvl3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3pPr>
            <a:lvl4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4pPr>
            <a:lvl5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0096483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685800"/>
            <a:ext cx="11582400" cy="5588000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03200" y="136356"/>
            <a:ext cx="10261600" cy="31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021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904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01271"/>
            <a:ext cx="10515600" cy="4975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9119" y="6288087"/>
            <a:ext cx="2134681" cy="50165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3133" y="6356716"/>
            <a:ext cx="414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dirty="0" smtClean="0"/>
              <a:t>.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49"/>
            <a:ext cx="12008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D9EE6-BE68-AA43-800B-9255F837AE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49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9.png"/><Relationship Id="rId21" Type="http://schemas.openxmlformats.org/officeDocument/2006/relationships/image" Target="../media/image24.png"/><Relationship Id="rId34" Type="http://schemas.openxmlformats.org/officeDocument/2006/relationships/image" Target="../media/image37.png"/><Relationship Id="rId42" Type="http://schemas.openxmlformats.org/officeDocument/2006/relationships/image" Target="../media/image45.png"/><Relationship Id="rId47" Type="http://schemas.openxmlformats.org/officeDocument/2006/relationships/image" Target="../media/image50.png"/><Relationship Id="rId50" Type="http://schemas.openxmlformats.org/officeDocument/2006/relationships/image" Target="../media/image53.png"/><Relationship Id="rId55" Type="http://schemas.openxmlformats.org/officeDocument/2006/relationships/image" Target="../media/image58.png"/><Relationship Id="rId63" Type="http://schemas.openxmlformats.org/officeDocument/2006/relationships/image" Target="../media/image6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9" Type="http://schemas.openxmlformats.org/officeDocument/2006/relationships/image" Target="../media/image32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45" Type="http://schemas.openxmlformats.org/officeDocument/2006/relationships/image" Target="../media/image48.png"/><Relationship Id="rId53" Type="http://schemas.openxmlformats.org/officeDocument/2006/relationships/image" Target="../media/image56.png"/><Relationship Id="rId58" Type="http://schemas.openxmlformats.org/officeDocument/2006/relationships/image" Target="../media/image61.png"/><Relationship Id="rId66" Type="http://schemas.openxmlformats.org/officeDocument/2006/relationships/image" Target="../media/image69.png"/><Relationship Id="rId5" Type="http://schemas.openxmlformats.org/officeDocument/2006/relationships/image" Target="../media/image8.png"/><Relationship Id="rId61" Type="http://schemas.openxmlformats.org/officeDocument/2006/relationships/image" Target="../media/image64.png"/><Relationship Id="rId19" Type="http://schemas.openxmlformats.org/officeDocument/2006/relationships/image" Target="../media/image22.png"/><Relationship Id="rId14" Type="http://schemas.openxmlformats.org/officeDocument/2006/relationships/image" Target="../media/image17.jp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png"/><Relationship Id="rId35" Type="http://schemas.openxmlformats.org/officeDocument/2006/relationships/image" Target="../media/image38.png"/><Relationship Id="rId43" Type="http://schemas.openxmlformats.org/officeDocument/2006/relationships/image" Target="../media/image46.png"/><Relationship Id="rId48" Type="http://schemas.openxmlformats.org/officeDocument/2006/relationships/image" Target="../media/image51.png"/><Relationship Id="rId56" Type="http://schemas.openxmlformats.org/officeDocument/2006/relationships/image" Target="../media/image59.png"/><Relationship Id="rId64" Type="http://schemas.openxmlformats.org/officeDocument/2006/relationships/image" Target="../media/image67.png"/><Relationship Id="rId8" Type="http://schemas.openxmlformats.org/officeDocument/2006/relationships/image" Target="../media/image11.png"/><Relationship Id="rId51" Type="http://schemas.openxmlformats.org/officeDocument/2006/relationships/image" Target="../media/image54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9.png"/><Relationship Id="rId59" Type="http://schemas.openxmlformats.org/officeDocument/2006/relationships/image" Target="../media/image62.png"/><Relationship Id="rId20" Type="http://schemas.openxmlformats.org/officeDocument/2006/relationships/image" Target="../media/image23.png"/><Relationship Id="rId41" Type="http://schemas.openxmlformats.org/officeDocument/2006/relationships/image" Target="../media/image44.png"/><Relationship Id="rId54" Type="http://schemas.openxmlformats.org/officeDocument/2006/relationships/image" Target="../media/image57.png"/><Relationship Id="rId6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36" Type="http://schemas.openxmlformats.org/officeDocument/2006/relationships/image" Target="../media/image39.png"/><Relationship Id="rId49" Type="http://schemas.openxmlformats.org/officeDocument/2006/relationships/image" Target="../media/image52.png"/><Relationship Id="rId57" Type="http://schemas.openxmlformats.org/officeDocument/2006/relationships/image" Target="../media/image60.png"/><Relationship Id="rId10" Type="http://schemas.openxmlformats.org/officeDocument/2006/relationships/image" Target="../media/image13.png"/><Relationship Id="rId31" Type="http://schemas.openxmlformats.org/officeDocument/2006/relationships/image" Target="../media/image34.png"/><Relationship Id="rId44" Type="http://schemas.openxmlformats.org/officeDocument/2006/relationships/image" Target="../media/image47.png"/><Relationship Id="rId52" Type="http://schemas.openxmlformats.org/officeDocument/2006/relationships/image" Target="../media/image55.png"/><Relationship Id="rId60" Type="http://schemas.openxmlformats.org/officeDocument/2006/relationships/image" Target="../media/image63.png"/><Relationship Id="rId65" Type="http://schemas.openxmlformats.org/officeDocument/2006/relationships/image" Target="../media/image6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9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ONAP API Walkthroug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GB" dirty="0" smtClean="0"/>
              <a:t>Kevin McDonnell (Huawei) for 5GTANGO</a:t>
            </a:r>
          </a:p>
          <a:p>
            <a:r>
              <a:rPr lang="en-GB" dirty="0" smtClean="0"/>
              <a:t>3</a:t>
            </a:r>
            <a:r>
              <a:rPr lang="en-GB" baseline="30000" dirty="0" smtClean="0"/>
              <a:t>rd</a:t>
            </a:r>
            <a:r>
              <a:rPr lang="en-GB" dirty="0" smtClean="0"/>
              <a:t> Jul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350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VFs, certify VF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Exercise 7: VID Line OF Business</a:t>
            </a:r>
            <a:endParaRPr lang="en-US" sz="4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8129694"/>
              </p:ext>
            </p:extLst>
          </p:nvPr>
        </p:nvGraphicFramePr>
        <p:xfrm>
          <a:off x="304800" y="1209757"/>
          <a:ext cx="11369964" cy="1821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201"/>
                <a:gridCol w="1532708"/>
                <a:gridCol w="687977"/>
                <a:gridCol w="834107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Owning Entity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wningEntity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Platform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latform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B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eOfBusiness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Projec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rojec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25692" y="1907017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 smtClean="0"/>
              <a:t>7</a:t>
            </a:r>
            <a:endParaRPr lang="en-US" sz="2133" dirty="0"/>
          </a:p>
        </p:txBody>
      </p:sp>
      <p:grpSp>
        <p:nvGrpSpPr>
          <p:cNvPr id="23" name="Group 22"/>
          <p:cNvGrpSpPr/>
          <p:nvPr/>
        </p:nvGrpSpPr>
        <p:grpSpPr>
          <a:xfrm>
            <a:off x="9451238" y="747711"/>
            <a:ext cx="2284765" cy="343764"/>
            <a:chOff x="5867400" y="513497"/>
            <a:chExt cx="1713575" cy="257823"/>
          </a:xfrm>
        </p:grpSpPr>
        <p:sp>
          <p:nvSpPr>
            <p:cNvPr id="24" name="Flowchart: Connector 23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096000" y="513497"/>
              <a:ext cx="14849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xercise Script to run 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5979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VFs, certify VF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Exercise 7: VID, </a:t>
            </a:r>
            <a:r>
              <a:rPr lang="en-IE" sz="4000" dirty="0"/>
              <a:t>Virtual Infrastructure </a:t>
            </a:r>
            <a:r>
              <a:rPr lang="en-IE" sz="4000" dirty="0" smtClean="0"/>
              <a:t>Deployment</a:t>
            </a:r>
            <a:endParaRPr lang="en-US" sz="4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04800" y="1209757"/>
          <a:ext cx="11369964" cy="1821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201"/>
                <a:gridCol w="1532708"/>
                <a:gridCol w="687977"/>
                <a:gridCol w="834107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Owning Entity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wningEntity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Platform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latform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B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eOfBusiness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altLang="zh-C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lare Projec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id}}/vid/maintenance/</a:t>
                      </a:r>
                      <a:r>
                        <a:rPr lang="en-I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tegory_parameter</a:t>
                      </a:r>
                      <a:r>
                        <a:rPr lang="en-I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project</a:t>
                      </a:r>
                      <a:endParaRPr lang="en-I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25692" y="1907017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 smtClean="0"/>
              <a:t>7</a:t>
            </a:r>
            <a:endParaRPr lang="en-US" sz="2133" dirty="0"/>
          </a:p>
        </p:txBody>
      </p:sp>
      <p:grpSp>
        <p:nvGrpSpPr>
          <p:cNvPr id="23" name="Group 22"/>
          <p:cNvGrpSpPr/>
          <p:nvPr/>
        </p:nvGrpSpPr>
        <p:grpSpPr>
          <a:xfrm>
            <a:off x="9451238" y="747711"/>
            <a:ext cx="2284765" cy="343764"/>
            <a:chOff x="5867400" y="513497"/>
            <a:chExt cx="1713575" cy="257823"/>
          </a:xfrm>
        </p:grpSpPr>
        <p:sp>
          <p:nvSpPr>
            <p:cNvPr id="24" name="Flowchart: Connector 23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096000" y="513497"/>
              <a:ext cx="14849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xercise Script to run 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5557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packages and manage VNF Onboarding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AP Design Time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15205" y="1525903"/>
          <a:ext cx="11369964" cy="5007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8396"/>
                <a:gridCol w="2844800"/>
                <a:gridCol w="1016000"/>
                <a:gridCol w="569076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ice Catalog 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st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lice Templates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-catalog/templates</a:t>
                      </a: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Query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rvice Templat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-catalog/templat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templat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ice Manager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locate Network 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figure Network 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configure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tivate Network</a:t>
                      </a:r>
                      <a:r>
                        <a:rPr lang="en-US" sz="15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activate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dify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activate 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deactivate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lete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lice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DELETE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ice Manager</a:t>
                      </a:r>
                      <a:endParaRPr lang="en-US" sz="15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Metrics)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st Metrics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metrics</a:t>
                      </a:r>
                    </a:p>
                  </a:txBody>
                  <a:tcPr marL="121920" marR="121920" marT="60960" marB="60960" anchor="ctr"/>
                </a:tc>
              </a:tr>
              <a:tr h="11514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iew Metric </a:t>
                      </a:r>
                    </a:p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return</a:t>
                      </a:r>
                      <a:r>
                        <a:rPr lang="en-US" sz="15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he 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tual or forecasted value)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metric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metricName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?type=actual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metric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metricName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?type=forecast</a:t>
                      </a: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A</a:t>
                      </a:r>
                      <a:r>
                        <a:rPr lang="en-US" sz="15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anagement</a:t>
                      </a:r>
                      <a:endParaRPr lang="en-US" sz="15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SLA</a:t>
                      </a:r>
                      <a:r>
                        <a:rPr lang="en-US" sz="15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Report</a:t>
                      </a:r>
                      <a:endParaRPr lang="en-US" sz="15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nsaas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management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/slices/{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iceI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}/</a:t>
                      </a:r>
                      <a:r>
                        <a:rPr lang="en-US" sz="15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sla-reports?period</a:t>
                      </a:r>
                      <a:r>
                        <a:rPr lang="en-US" sz="15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={period}</a:t>
                      </a:r>
                      <a:endParaRPr lang="en-US" sz="15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11835816" y="2035630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1</a:t>
            </a:r>
          </a:p>
        </p:txBody>
      </p:sp>
      <p:sp>
        <p:nvSpPr>
          <p:cNvPr id="9" name="Flowchart: Connector 8"/>
          <p:cNvSpPr/>
          <p:nvPr/>
        </p:nvSpPr>
        <p:spPr>
          <a:xfrm>
            <a:off x="11835816" y="2399123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2</a:t>
            </a:r>
          </a:p>
        </p:txBody>
      </p:sp>
      <p:sp>
        <p:nvSpPr>
          <p:cNvPr id="10" name="Flowchart: Connector 9"/>
          <p:cNvSpPr/>
          <p:nvPr/>
        </p:nvSpPr>
        <p:spPr>
          <a:xfrm>
            <a:off x="11835816" y="2762616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3</a:t>
            </a:r>
          </a:p>
        </p:txBody>
      </p:sp>
      <p:sp>
        <p:nvSpPr>
          <p:cNvPr id="11" name="Flowchart: Connector 10"/>
          <p:cNvSpPr/>
          <p:nvPr/>
        </p:nvSpPr>
        <p:spPr>
          <a:xfrm>
            <a:off x="11835816" y="4198324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4</a:t>
            </a:r>
          </a:p>
        </p:txBody>
      </p:sp>
      <p:sp>
        <p:nvSpPr>
          <p:cNvPr id="13" name="Flowchart: Connector 12"/>
          <p:cNvSpPr/>
          <p:nvPr/>
        </p:nvSpPr>
        <p:spPr>
          <a:xfrm>
            <a:off x="11835816" y="4757215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5</a:t>
            </a:r>
          </a:p>
        </p:txBody>
      </p:sp>
      <p:sp>
        <p:nvSpPr>
          <p:cNvPr id="14" name="Flowchart: Connector 13"/>
          <p:cNvSpPr/>
          <p:nvPr/>
        </p:nvSpPr>
        <p:spPr>
          <a:xfrm>
            <a:off x="11835816" y="5470463"/>
            <a:ext cx="304800" cy="324367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6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9577953" y="82746"/>
            <a:ext cx="2562663" cy="343764"/>
            <a:chOff x="5867400" y="513497"/>
            <a:chExt cx="1921997" cy="257823"/>
          </a:xfrm>
        </p:grpSpPr>
        <p:sp>
          <p:nvSpPr>
            <p:cNvPr id="15" name="Flowchart: Connector 14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096000" y="513497"/>
              <a:ext cx="1693397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The key calls for </a:t>
              </a:r>
              <a:r>
                <a:rPr lang="en-US" sz="1600" dirty="0" smtClean="0"/>
                <a:t>scenario</a:t>
              </a:r>
              <a:endParaRPr lang="en-US" sz="1600" dirty="0"/>
            </a:p>
          </p:txBody>
        </p:sp>
      </p:grpSp>
      <p:sp>
        <p:nvSpPr>
          <p:cNvPr id="18" name="Flowchart: Connector 17"/>
          <p:cNvSpPr/>
          <p:nvPr/>
        </p:nvSpPr>
        <p:spPr>
          <a:xfrm>
            <a:off x="11835816" y="3174144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7</a:t>
            </a:r>
          </a:p>
        </p:txBody>
      </p:sp>
      <p:sp>
        <p:nvSpPr>
          <p:cNvPr id="19" name="Flowchart: Connector 18"/>
          <p:cNvSpPr/>
          <p:nvPr/>
        </p:nvSpPr>
        <p:spPr>
          <a:xfrm>
            <a:off x="11835816" y="3532152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7362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 smtClean="0"/>
              <a:t>Free Radius</a:t>
            </a:r>
            <a:endParaRPr lang="en-IE" dirty="0"/>
          </a:p>
        </p:txBody>
      </p:sp>
      <p:sp>
        <p:nvSpPr>
          <p:cNvPr id="4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839788" y="2551866"/>
            <a:ext cx="5157787" cy="31393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:freeradiu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f_name:integration_test_VF_freeradiu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sp_name:integration_test_VSP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endor_name:onap_integration_vendor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wning_entity:integration_test_OE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atform:integration_test_platform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ject:integration_test_project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neofbusiness:integration_test_LOB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er_name:generic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oud_owner_name:OPNFV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oud_region_id:RegionOne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ant_name:openlab-vnf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ant_id:234a9a2dc4b643be9812915b214cdbbb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ternalId:integration_test_BSS-001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_instance_name:integration_test_freeradius_instance_001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ener_url:http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//10.4.2.65:8080/</a:t>
            </a: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ternalapi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listener/v1/listener</a:t>
            </a: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IE" dirty="0" err="1" smtClean="0"/>
              <a:t>Cirros</a:t>
            </a:r>
            <a:endParaRPr lang="en-I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Example Tests using Simple VNFs</a:t>
            </a:r>
            <a:endParaRPr lang="en-IE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sz="half" idx="10"/>
          </p:nvPr>
        </p:nvSpPr>
        <p:spPr bwMode="auto">
          <a:xfrm>
            <a:off x="6170612" y="2721143"/>
            <a:ext cx="5876930" cy="28007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:cirro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f_name:VF_cirros</a:t>
            </a:r>
            <a:endParaRPr kumimoji="0" lang="en-US" altLang="en-US" sz="1100" b="0" i="1" u="none" strike="noStrike" cap="none" normalizeH="0" baseline="0" dirty="0" smtClean="0">
              <a:ln>
                <a:noFill/>
              </a:ln>
              <a:solidFill>
                <a:srgbClr val="808080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sp_name:VSP_cirro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endor_name:</a:t>
            </a:r>
            <a:r>
              <a:rPr lang="en-US" altLang="en-US" sz="11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GTANGO_test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_vendor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wning_entity:integration_test_OE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latform:integration_test_platform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ject:integration_test_project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neofbusiness:integration_test_LOB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ustomer_name:generic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oud_owner_name:5GTANGO_ONAP_Lab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oud_region_id:RegionOne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ant_name:openlab-vnfs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nant_id:234a9a2dc4b643be9812915b214cdbbb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ternalId:integration_test_BSS-001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rvice_instance_name:cirros_instance_001</a:t>
            </a:r>
            <a:b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stener_url:http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//10.4.2.65:8080/</a:t>
            </a:r>
            <a:r>
              <a:rPr kumimoji="0" lang="en-US" altLang="en-US" sz="1100" b="0" i="1" u="none" strike="noStrike" cap="none" normalizeH="0" baseline="0" dirty="0" err="1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ternalapi</a:t>
            </a:r>
            <a:r>
              <a:rPr kumimoji="0" lang="en-US" altLang="en-US" sz="11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/listener/v1/listener</a:t>
            </a: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42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234"/>
          <p:cNvSpPr/>
          <p:nvPr/>
        </p:nvSpPr>
        <p:spPr>
          <a:xfrm>
            <a:off x="7917918" y="3645060"/>
            <a:ext cx="3763441" cy="27248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schemeClr val="bg1"/>
              </a:solidFill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1011539" y="3699785"/>
            <a:ext cx="6490419" cy="27210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389424" y="308796"/>
            <a:ext cx="1494874" cy="31242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66601" y="6588200"/>
            <a:ext cx="156718" cy="1114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93903" y="85700"/>
            <a:ext cx="10895163" cy="6905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Service </a:t>
            </a:r>
            <a:r>
              <a:rPr spc="-5" dirty="0"/>
              <a:t>Onboarding </a:t>
            </a:r>
            <a:r>
              <a:rPr spc="-5" dirty="0" smtClean="0"/>
              <a:t>and</a:t>
            </a:r>
            <a:r>
              <a:rPr lang="en-IE" spc="-65" dirty="0"/>
              <a:t> </a:t>
            </a:r>
            <a:r>
              <a:rPr spc="-5" dirty="0" smtClean="0"/>
              <a:t>Instantiation</a:t>
            </a:r>
            <a:endParaRPr spc="-5" dirty="0"/>
          </a:p>
        </p:txBody>
      </p:sp>
      <p:sp>
        <p:nvSpPr>
          <p:cNvPr id="8" name="object 8"/>
          <p:cNvSpPr/>
          <p:nvPr/>
        </p:nvSpPr>
        <p:spPr>
          <a:xfrm>
            <a:off x="2337864" y="2612950"/>
            <a:ext cx="3905631" cy="56687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364091" y="2627910"/>
            <a:ext cx="3852797" cy="51604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364091" y="2627910"/>
            <a:ext cx="3853179" cy="516255"/>
          </a:xfrm>
          <a:prstGeom prst="rect">
            <a:avLst/>
          </a:prstGeom>
          <a:ln w="3916">
            <a:solidFill>
              <a:srgbClr val="507D31"/>
            </a:solidFill>
          </a:ln>
        </p:spPr>
        <p:txBody>
          <a:bodyPr vert="horz" wrap="square" lIns="0" tIns="131445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35"/>
              </a:spcBef>
            </a:pPr>
            <a:r>
              <a:rPr sz="1450" spc="35" dirty="0">
                <a:solidFill>
                  <a:srgbClr val="FDFFFF"/>
                </a:solidFill>
                <a:latin typeface="Calibri"/>
                <a:cs typeface="Calibri"/>
              </a:rPr>
              <a:t>BSS</a:t>
            </a:r>
            <a:r>
              <a:rPr sz="1450" spc="15" dirty="0">
                <a:solidFill>
                  <a:srgbClr val="FDFFFF"/>
                </a:solidFill>
                <a:latin typeface="Calibri"/>
                <a:cs typeface="Calibri"/>
              </a:rPr>
              <a:t> </a:t>
            </a:r>
            <a:r>
              <a:rPr sz="1450" spc="30" dirty="0">
                <a:solidFill>
                  <a:srgbClr val="FDFFFF"/>
                </a:solidFill>
                <a:latin typeface="Calibri"/>
                <a:cs typeface="Calibri"/>
              </a:rPr>
              <a:t>(SP)</a:t>
            </a:r>
            <a:endParaRPr sz="145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751288" y="2538671"/>
            <a:ext cx="3564244" cy="71543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777516" y="2553631"/>
            <a:ext cx="3511410" cy="66460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7777516" y="2553631"/>
            <a:ext cx="3511550" cy="664845"/>
          </a:xfrm>
          <a:prstGeom prst="rect">
            <a:avLst/>
          </a:prstGeom>
          <a:ln w="3919">
            <a:solidFill>
              <a:srgbClr val="507D31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"/>
              </a:spcBef>
            </a:pPr>
            <a:endParaRPr sz="1400">
              <a:latin typeface="Times New Roman"/>
              <a:cs typeface="Times New Roman"/>
            </a:endParaRPr>
          </a:p>
          <a:p>
            <a:pPr marL="6350" algn="ctr">
              <a:lnSpc>
                <a:spcPct val="100000"/>
              </a:lnSpc>
            </a:pPr>
            <a:r>
              <a:rPr sz="1450" spc="35" dirty="0">
                <a:solidFill>
                  <a:srgbClr val="FDFFFF"/>
                </a:solidFill>
                <a:latin typeface="Calibri"/>
                <a:cs typeface="Calibri"/>
              </a:rPr>
              <a:t>BSS</a:t>
            </a:r>
            <a:r>
              <a:rPr sz="1450" spc="15" dirty="0">
                <a:solidFill>
                  <a:srgbClr val="FDFFFF"/>
                </a:solidFill>
                <a:latin typeface="Calibri"/>
                <a:cs typeface="Calibri"/>
              </a:rPr>
              <a:t> </a:t>
            </a:r>
            <a:r>
              <a:rPr sz="1450" spc="30" dirty="0">
                <a:solidFill>
                  <a:srgbClr val="FDFFFF"/>
                </a:solidFill>
                <a:latin typeface="Calibri"/>
                <a:cs typeface="Calibri"/>
              </a:rPr>
              <a:t>(Partner)</a:t>
            </a:r>
            <a:endParaRPr sz="1450">
              <a:latin typeface="Calibri"/>
              <a:cs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72717" y="2143138"/>
            <a:ext cx="195580" cy="469265"/>
          </a:xfrm>
          <a:custGeom>
            <a:avLst/>
            <a:gdLst/>
            <a:ahLst/>
            <a:cxnLst/>
            <a:rect l="l" t="t" r="r" b="b"/>
            <a:pathLst>
              <a:path w="195580" h="469264">
                <a:moveTo>
                  <a:pt x="156062" y="0"/>
                </a:moveTo>
                <a:lnTo>
                  <a:pt x="156062" y="375307"/>
                </a:lnTo>
                <a:lnTo>
                  <a:pt x="195078" y="375307"/>
                </a:lnTo>
                <a:lnTo>
                  <a:pt x="97539" y="469134"/>
                </a:lnTo>
                <a:lnTo>
                  <a:pt x="0" y="375307"/>
                </a:lnTo>
                <a:lnTo>
                  <a:pt x="39015" y="375307"/>
                </a:lnTo>
                <a:lnTo>
                  <a:pt x="39015" y="0"/>
                </a:lnTo>
              </a:path>
            </a:pathLst>
          </a:custGeom>
          <a:ln w="5388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11732" y="2143138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25560" y="3750601"/>
            <a:ext cx="3564244" cy="36357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51787" y="3764258"/>
            <a:ext cx="3511410" cy="31275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060413" y="2158776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099428" y="2158776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471906" y="1889120"/>
            <a:ext cx="1052195" cy="25146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9525" algn="ctr">
              <a:lnSpc>
                <a:spcPct val="100000"/>
              </a:lnSpc>
              <a:spcBef>
                <a:spcPts val="140"/>
              </a:spcBef>
              <a:tabLst>
                <a:tab pos="560705" algn="l"/>
              </a:tabLst>
            </a:pPr>
            <a:r>
              <a:rPr sz="700" spc="25" dirty="0">
                <a:latin typeface="Calibri"/>
                <a:cs typeface="Calibri"/>
              </a:rPr>
              <a:t>Partner	Product</a:t>
            </a:r>
            <a:endParaRPr sz="7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700" spc="25" dirty="0">
                <a:latin typeface="Calibri"/>
                <a:cs typeface="Calibri"/>
              </a:rPr>
              <a:t>Onboarding</a:t>
            </a:r>
            <a:r>
              <a:rPr sz="700" spc="170" dirty="0">
                <a:latin typeface="Calibri"/>
                <a:cs typeface="Calibri"/>
              </a:rPr>
              <a:t> </a:t>
            </a:r>
            <a:r>
              <a:rPr sz="700" spc="25" dirty="0">
                <a:latin typeface="Calibri"/>
                <a:cs typeface="Calibri"/>
              </a:rPr>
              <a:t>Onboarding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67394" y="4704508"/>
            <a:ext cx="2686391" cy="36357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193632" y="4718165"/>
            <a:ext cx="2633557" cy="31275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93632" y="4718165"/>
            <a:ext cx="2633980" cy="313055"/>
          </a:xfrm>
          <a:custGeom>
            <a:avLst/>
            <a:gdLst/>
            <a:ahLst/>
            <a:cxnLst/>
            <a:rect l="l" t="t" r="r" b="b"/>
            <a:pathLst>
              <a:path w="2633979" h="313054">
                <a:moveTo>
                  <a:pt x="0" y="312756"/>
                </a:moveTo>
                <a:lnTo>
                  <a:pt x="2633557" y="312756"/>
                </a:lnTo>
                <a:lnTo>
                  <a:pt x="2633557" y="0"/>
                </a:lnTo>
                <a:lnTo>
                  <a:pt x="0" y="0"/>
                </a:lnTo>
                <a:lnTo>
                  <a:pt x="0" y="312756"/>
                </a:lnTo>
                <a:close/>
              </a:path>
            </a:pathLst>
          </a:custGeom>
          <a:ln w="3915">
            <a:solidFill>
              <a:srgbClr val="2C51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2393712" y="4776904"/>
            <a:ext cx="233045" cy="1758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950" spc="35" dirty="0">
                <a:solidFill>
                  <a:srgbClr val="FDFFFF"/>
                </a:solidFill>
                <a:latin typeface="Calibri"/>
                <a:cs typeface="Calibri"/>
              </a:rPr>
              <a:t>S</a:t>
            </a:r>
            <a:r>
              <a:rPr sz="950" spc="20" dirty="0">
                <a:solidFill>
                  <a:srgbClr val="FDFFFF"/>
                </a:solidFill>
                <a:latin typeface="Calibri"/>
                <a:cs typeface="Calibri"/>
              </a:rPr>
              <a:t>D</a:t>
            </a:r>
            <a:r>
              <a:rPr sz="950" spc="40" dirty="0">
                <a:solidFill>
                  <a:srgbClr val="FDFFFF"/>
                </a:solidFill>
                <a:latin typeface="Calibri"/>
                <a:cs typeface="Calibri"/>
              </a:rPr>
              <a:t>C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291171" y="4264668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80" h="454025">
                <a:moveTo>
                  <a:pt x="156051" y="0"/>
                </a:moveTo>
                <a:lnTo>
                  <a:pt x="156051" y="359669"/>
                </a:lnTo>
                <a:lnTo>
                  <a:pt x="195067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330187" y="4264668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36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1162822" y="3954772"/>
            <a:ext cx="494030" cy="25146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40"/>
              </a:spcBef>
            </a:pPr>
            <a:r>
              <a:rPr sz="700" spc="35" dirty="0">
                <a:latin typeface="Calibri"/>
                <a:cs typeface="Calibri"/>
              </a:rPr>
              <a:t>VNF</a:t>
            </a:r>
            <a:endParaRPr sz="7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700" spc="25" dirty="0">
                <a:latin typeface="Calibri"/>
                <a:cs typeface="Calibri"/>
              </a:rPr>
              <a:t>Onboarding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823887" y="4264668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80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862902" y="4264668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1792763" y="4001920"/>
            <a:ext cx="309880" cy="25082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25" dirty="0">
                <a:latin typeface="Calibri"/>
                <a:cs typeface="Calibri"/>
              </a:rPr>
              <a:t>Se</a:t>
            </a:r>
            <a:r>
              <a:rPr sz="700" spc="5" dirty="0">
                <a:latin typeface="Calibri"/>
                <a:cs typeface="Calibri"/>
              </a:rPr>
              <a:t>r</a:t>
            </a:r>
            <a:r>
              <a:rPr sz="700" spc="30" dirty="0">
                <a:latin typeface="Calibri"/>
                <a:cs typeface="Calibri"/>
              </a:rPr>
              <a:t>vi</a:t>
            </a:r>
            <a:r>
              <a:rPr sz="700" spc="20" dirty="0">
                <a:latin typeface="Calibri"/>
                <a:cs typeface="Calibri"/>
              </a:rPr>
              <a:t>c</a:t>
            </a:r>
            <a:r>
              <a:rPr sz="700" spc="30" dirty="0">
                <a:latin typeface="Calibri"/>
                <a:cs typeface="Calibri"/>
              </a:rPr>
              <a:t>e</a:t>
            </a:r>
            <a:endParaRPr sz="700">
              <a:latin typeface="Calibri"/>
              <a:cs typeface="Calibri"/>
            </a:endParaRPr>
          </a:p>
          <a:p>
            <a:pPr marL="20955">
              <a:lnSpc>
                <a:spcPct val="100000"/>
              </a:lnSpc>
              <a:spcBef>
                <a:spcPts val="50"/>
              </a:spcBef>
            </a:pPr>
            <a:r>
              <a:rPr sz="700" spc="30" dirty="0">
                <a:latin typeface="Calibri"/>
                <a:cs typeface="Calibri"/>
              </a:rPr>
              <a:t>Design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2266552" y="4264668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80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305568" y="4264668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245941" y="3996707"/>
            <a:ext cx="292100" cy="25082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29209">
              <a:lnSpc>
                <a:spcPct val="100000"/>
              </a:lnSpc>
              <a:spcBef>
                <a:spcPts val="135"/>
              </a:spcBef>
            </a:pPr>
            <a:r>
              <a:rPr sz="700" spc="20" dirty="0">
                <a:latin typeface="Calibri"/>
                <a:cs typeface="Calibri"/>
              </a:rPr>
              <a:t>Policy</a:t>
            </a:r>
            <a:endParaRPr sz="7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z="700" spc="45" dirty="0">
                <a:latin typeface="Calibri"/>
                <a:cs typeface="Calibri"/>
              </a:rPr>
              <a:t>D</a:t>
            </a:r>
            <a:r>
              <a:rPr sz="700" spc="30" dirty="0">
                <a:latin typeface="Calibri"/>
                <a:cs typeface="Calibri"/>
              </a:rPr>
              <a:t>e</a:t>
            </a:r>
            <a:r>
              <a:rPr sz="700" spc="10" dirty="0">
                <a:latin typeface="Calibri"/>
                <a:cs typeface="Calibri"/>
              </a:rPr>
              <a:t>s</a:t>
            </a:r>
            <a:r>
              <a:rPr sz="700" spc="30" dirty="0">
                <a:latin typeface="Calibri"/>
                <a:cs typeface="Calibri"/>
              </a:rPr>
              <a:t>i</a:t>
            </a:r>
            <a:r>
              <a:rPr sz="700" spc="20" dirty="0">
                <a:latin typeface="Calibri"/>
                <a:cs typeface="Calibri"/>
              </a:rPr>
              <a:t>g</a:t>
            </a:r>
            <a:r>
              <a:rPr sz="700" spc="35" dirty="0">
                <a:latin typeface="Calibri"/>
                <a:cs typeface="Calibri"/>
              </a:rPr>
              <a:t>n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8557829" y="2100134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596845" y="2100134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8361756" y="1842337"/>
            <a:ext cx="494030" cy="2508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78740">
              <a:lnSpc>
                <a:spcPct val="105700"/>
              </a:lnSpc>
              <a:spcBef>
                <a:spcPts val="90"/>
              </a:spcBef>
            </a:pPr>
            <a:r>
              <a:rPr sz="700" spc="25" dirty="0">
                <a:latin typeface="Calibri"/>
                <a:cs typeface="Calibri"/>
              </a:rPr>
              <a:t>Product  </a:t>
            </a:r>
            <a:r>
              <a:rPr sz="700" spc="45" dirty="0">
                <a:latin typeface="Calibri"/>
                <a:cs typeface="Calibri"/>
              </a:rPr>
              <a:t>On</a:t>
            </a:r>
            <a:r>
              <a:rPr sz="700" spc="15" dirty="0">
                <a:latin typeface="Calibri"/>
                <a:cs typeface="Calibri"/>
              </a:rPr>
              <a:t>b</a:t>
            </a:r>
            <a:r>
              <a:rPr sz="700" spc="45" dirty="0">
                <a:latin typeface="Calibri"/>
                <a:cs typeface="Calibri"/>
              </a:rPr>
              <a:t>o</a:t>
            </a:r>
            <a:r>
              <a:rPr sz="700" spc="10" dirty="0">
                <a:latin typeface="Calibri"/>
                <a:cs typeface="Calibri"/>
              </a:rPr>
              <a:t>a</a:t>
            </a:r>
            <a:r>
              <a:rPr sz="700" spc="35" dirty="0">
                <a:latin typeface="Calibri"/>
                <a:cs typeface="Calibri"/>
              </a:rPr>
              <a:t>r</a:t>
            </a:r>
            <a:r>
              <a:rPr sz="700" spc="15" dirty="0">
                <a:latin typeface="Calibri"/>
                <a:cs typeface="Calibri"/>
              </a:rPr>
              <a:t>d</a:t>
            </a:r>
            <a:r>
              <a:rPr sz="700" spc="30" dirty="0">
                <a:latin typeface="Calibri"/>
                <a:cs typeface="Calibri"/>
              </a:rPr>
              <a:t>i</a:t>
            </a:r>
            <a:r>
              <a:rPr sz="700" spc="15" dirty="0">
                <a:latin typeface="Calibri"/>
                <a:cs typeface="Calibri"/>
              </a:rPr>
              <a:t>n</a:t>
            </a:r>
            <a:r>
              <a:rPr sz="700" spc="30" dirty="0">
                <a:latin typeface="Calibri"/>
                <a:cs typeface="Calibri"/>
              </a:rPr>
              <a:t>g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76301" y="3296654"/>
            <a:ext cx="387350" cy="1758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76200" marR="5080" indent="-64135">
              <a:lnSpc>
                <a:spcPct val="100000"/>
              </a:lnSpc>
              <a:spcBef>
                <a:spcPts val="90"/>
              </a:spcBef>
            </a:pPr>
            <a:r>
              <a:rPr sz="500" dirty="0">
                <a:latin typeface="Calibri"/>
                <a:cs typeface="Calibri"/>
              </a:rPr>
              <a:t>ONAP</a:t>
            </a:r>
            <a:r>
              <a:rPr sz="500" spc="-60" dirty="0">
                <a:latin typeface="Calibri"/>
                <a:cs typeface="Calibri"/>
              </a:rPr>
              <a:t> </a:t>
            </a:r>
            <a:r>
              <a:rPr sz="500" spc="5" dirty="0">
                <a:latin typeface="Calibri"/>
                <a:cs typeface="Calibri"/>
              </a:rPr>
              <a:t>Service  </a:t>
            </a:r>
            <a:r>
              <a:rPr sz="500" dirty="0">
                <a:latin typeface="Calibri"/>
                <a:cs typeface="Calibri"/>
              </a:rPr>
              <a:t>Designer</a:t>
            </a:r>
            <a:endParaRPr sz="50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621460" y="1907365"/>
            <a:ext cx="1308100" cy="25146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40"/>
              </a:spcBef>
            </a:pPr>
            <a:r>
              <a:rPr sz="700" spc="30" dirty="0">
                <a:latin typeface="Calibri"/>
                <a:cs typeface="Calibri"/>
              </a:rPr>
              <a:t>Query </a:t>
            </a:r>
            <a:r>
              <a:rPr sz="700" spc="25" dirty="0">
                <a:latin typeface="Calibri"/>
                <a:cs typeface="Calibri"/>
              </a:rPr>
              <a:t>Product </a:t>
            </a:r>
            <a:r>
              <a:rPr sz="1050" spc="44" baseline="3968" dirty="0">
                <a:latin typeface="Calibri"/>
                <a:cs typeface="Calibri"/>
              </a:rPr>
              <a:t>Request</a:t>
            </a:r>
            <a:r>
              <a:rPr sz="1050" spc="-52" baseline="3968" dirty="0">
                <a:latin typeface="Calibri"/>
                <a:cs typeface="Calibri"/>
              </a:rPr>
              <a:t> </a:t>
            </a:r>
            <a:r>
              <a:rPr sz="1050" spc="37" baseline="3968" dirty="0">
                <a:latin typeface="Calibri"/>
                <a:cs typeface="Calibri"/>
              </a:rPr>
              <a:t>Product</a:t>
            </a:r>
            <a:endParaRPr sz="1050" baseline="3968">
              <a:latin typeface="Calibri"/>
              <a:cs typeface="Calibri"/>
            </a:endParaRPr>
          </a:p>
          <a:p>
            <a:pPr marR="57785" algn="ctr">
              <a:lnSpc>
                <a:spcPct val="100000"/>
              </a:lnSpc>
              <a:spcBef>
                <a:spcPts val="45"/>
              </a:spcBef>
              <a:tabLst>
                <a:tab pos="687705" algn="l"/>
              </a:tabLst>
            </a:pPr>
            <a:r>
              <a:rPr sz="700" spc="25" dirty="0">
                <a:latin typeface="Calibri"/>
                <a:cs typeface="Calibri"/>
              </a:rPr>
              <a:t>Catalog	</a:t>
            </a:r>
            <a:r>
              <a:rPr sz="1050" spc="44" baseline="3968" dirty="0">
                <a:latin typeface="Calibri"/>
                <a:cs typeface="Calibri"/>
              </a:rPr>
              <a:t>Quote</a:t>
            </a:r>
            <a:endParaRPr sz="1050" baseline="3968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995841" y="1987404"/>
            <a:ext cx="59182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25" dirty="0">
                <a:latin typeface="Calibri"/>
                <a:cs typeface="Calibri"/>
              </a:rPr>
              <a:t>Product</a:t>
            </a:r>
            <a:r>
              <a:rPr sz="700" spc="-35" dirty="0">
                <a:latin typeface="Calibri"/>
                <a:cs typeface="Calibri"/>
              </a:rPr>
              <a:t> </a:t>
            </a:r>
            <a:r>
              <a:rPr sz="700" spc="30" dirty="0">
                <a:latin typeface="Calibri"/>
                <a:cs typeface="Calibri"/>
              </a:rPr>
              <a:t>Order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855987" y="5830778"/>
            <a:ext cx="335915" cy="1758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950" spc="45" dirty="0">
                <a:solidFill>
                  <a:srgbClr val="FDFFFF"/>
                </a:solidFill>
                <a:latin typeface="Calibri"/>
                <a:cs typeface="Calibri"/>
              </a:rPr>
              <a:t>P</a:t>
            </a:r>
            <a:r>
              <a:rPr sz="950" spc="5" dirty="0">
                <a:solidFill>
                  <a:srgbClr val="FDFFFF"/>
                </a:solidFill>
                <a:latin typeface="Calibri"/>
                <a:cs typeface="Calibri"/>
              </a:rPr>
              <a:t>o</a:t>
            </a:r>
            <a:r>
              <a:rPr sz="950" spc="35" dirty="0">
                <a:solidFill>
                  <a:srgbClr val="FDFFFF"/>
                </a:solidFill>
                <a:latin typeface="Calibri"/>
                <a:cs typeface="Calibri"/>
              </a:rPr>
              <a:t>l</a:t>
            </a:r>
            <a:r>
              <a:rPr sz="950" dirty="0">
                <a:solidFill>
                  <a:srgbClr val="FDFFFF"/>
                </a:solidFill>
                <a:latin typeface="Calibri"/>
                <a:cs typeface="Calibri"/>
              </a:rPr>
              <a:t>i</a:t>
            </a:r>
            <a:r>
              <a:rPr sz="950" spc="40" dirty="0">
                <a:solidFill>
                  <a:srgbClr val="FDFFFF"/>
                </a:solidFill>
                <a:latin typeface="Calibri"/>
                <a:cs typeface="Calibri"/>
              </a:rPr>
              <a:t>c</a:t>
            </a:r>
            <a:r>
              <a:rPr sz="950" spc="30" dirty="0">
                <a:solidFill>
                  <a:srgbClr val="FDFFFF"/>
                </a:solidFill>
                <a:latin typeface="Calibri"/>
                <a:cs typeface="Calibri"/>
              </a:rPr>
              <a:t>y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460398" y="5815140"/>
            <a:ext cx="301625" cy="1758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950" spc="35" dirty="0">
                <a:solidFill>
                  <a:srgbClr val="FDFFFF"/>
                </a:solidFill>
                <a:latin typeface="Calibri"/>
                <a:cs typeface="Calibri"/>
              </a:rPr>
              <a:t>A</a:t>
            </a:r>
            <a:r>
              <a:rPr sz="950" spc="50" dirty="0">
                <a:solidFill>
                  <a:srgbClr val="FDFFFF"/>
                </a:solidFill>
                <a:latin typeface="Calibri"/>
                <a:cs typeface="Calibri"/>
              </a:rPr>
              <a:t>&amp;</a:t>
            </a:r>
            <a:r>
              <a:rPr sz="950" spc="45" dirty="0">
                <a:solidFill>
                  <a:srgbClr val="FDFFFF"/>
                </a:solidFill>
                <a:latin typeface="Calibri"/>
                <a:cs typeface="Calibri"/>
              </a:rPr>
              <a:t>AI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515718" y="3019995"/>
            <a:ext cx="966469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Product </a:t>
            </a: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ID </a:t>
            </a:r>
            <a:r>
              <a:rPr sz="700" spc="45" dirty="0">
                <a:solidFill>
                  <a:srgbClr val="FDFFFF"/>
                </a:solidFill>
                <a:latin typeface="Calibri"/>
                <a:cs typeface="Calibri"/>
              </a:rPr>
              <a:t>&amp; </a:t>
            </a: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Service</a:t>
            </a:r>
            <a:r>
              <a:rPr sz="700" spc="55" dirty="0">
                <a:solidFill>
                  <a:srgbClr val="FDFFFF"/>
                </a:solidFill>
                <a:latin typeface="Calibri"/>
                <a:cs typeface="Calibri"/>
              </a:rPr>
              <a:t> </a:t>
            </a: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ID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548644" y="2626183"/>
            <a:ext cx="753745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30" dirty="0">
                <a:solidFill>
                  <a:srgbClr val="5B9BD4"/>
                </a:solidFill>
                <a:latin typeface="Calibri"/>
                <a:cs typeface="Calibri"/>
              </a:rPr>
              <a:t>Query BSS</a:t>
            </a:r>
            <a:r>
              <a:rPr sz="700" spc="-50" dirty="0">
                <a:solidFill>
                  <a:srgbClr val="5B9BD4"/>
                </a:solidFill>
                <a:latin typeface="Calibri"/>
                <a:cs typeface="Calibri"/>
              </a:rPr>
              <a:t> </a:t>
            </a:r>
            <a:r>
              <a:rPr sz="700" spc="25" dirty="0">
                <a:solidFill>
                  <a:srgbClr val="5B9BD4"/>
                </a:solidFill>
                <a:latin typeface="Calibri"/>
                <a:cs typeface="Calibri"/>
              </a:rPr>
              <a:t>Catalog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327223" y="2273550"/>
            <a:ext cx="7493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35" dirty="0">
                <a:solidFill>
                  <a:srgbClr val="FDFFFF"/>
                </a:solidFill>
                <a:latin typeface="Calibri"/>
                <a:cs typeface="Calibri"/>
              </a:rPr>
              <a:t>1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908936" y="2273550"/>
            <a:ext cx="20320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189865" algn="l"/>
              </a:tabLst>
            </a:pPr>
            <a:r>
              <a:rPr sz="700" strike="sngStrike" spc="35" dirty="0">
                <a:solidFill>
                  <a:srgbClr val="FDFFFF"/>
                </a:solidFill>
                <a:latin typeface="Calibri"/>
                <a:cs typeface="Calibri"/>
              </a:rPr>
              <a:t>2	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658856" y="975246"/>
            <a:ext cx="632460" cy="250825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40"/>
              </a:spcBef>
            </a:pPr>
            <a:r>
              <a:rPr sz="700" spc="30" dirty="0">
                <a:solidFill>
                  <a:srgbClr val="5B9BD4"/>
                </a:solidFill>
                <a:latin typeface="Calibri"/>
                <a:cs typeface="Calibri"/>
              </a:rPr>
              <a:t>BSS</a:t>
            </a:r>
            <a:r>
              <a:rPr sz="700" spc="-15" dirty="0">
                <a:solidFill>
                  <a:srgbClr val="5B9BD4"/>
                </a:solidFill>
                <a:latin typeface="Calibri"/>
                <a:cs typeface="Calibri"/>
              </a:rPr>
              <a:t> </a:t>
            </a:r>
            <a:r>
              <a:rPr sz="700" spc="25" dirty="0">
                <a:solidFill>
                  <a:srgbClr val="5B9BD4"/>
                </a:solidFill>
                <a:latin typeface="Calibri"/>
                <a:cs typeface="Calibri"/>
              </a:rPr>
              <a:t>Operations</a:t>
            </a:r>
            <a:endParaRPr sz="7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700" spc="25" dirty="0">
                <a:solidFill>
                  <a:srgbClr val="5B9BD4"/>
                </a:solidFill>
                <a:latin typeface="Calibri"/>
                <a:cs typeface="Calibri"/>
              </a:rPr>
              <a:t>Engineer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668814" y="1031777"/>
            <a:ext cx="41275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30" dirty="0">
                <a:solidFill>
                  <a:srgbClr val="5B9BD4"/>
                </a:solidFill>
                <a:latin typeface="Calibri"/>
                <a:cs typeface="Calibri"/>
              </a:rPr>
              <a:t>Customer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072734" y="2052953"/>
            <a:ext cx="16383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u="sng" spc="15" dirty="0">
                <a:uFill>
                  <a:solidFill>
                    <a:srgbClr val="5B9BD4"/>
                  </a:solidFill>
                </a:uFill>
                <a:latin typeface="Calibri"/>
                <a:cs typeface="Calibri"/>
              </a:rPr>
              <a:t> </a:t>
            </a:r>
            <a:r>
              <a:rPr sz="700" u="sng" spc="-40" dirty="0">
                <a:uFill>
                  <a:solidFill>
                    <a:srgbClr val="5B9BD4"/>
                  </a:solidFill>
                </a:uFill>
                <a:latin typeface="Calibri"/>
                <a:cs typeface="Calibri"/>
              </a:rPr>
              <a:t> 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706089" y="1827742"/>
            <a:ext cx="731520" cy="3638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1270" algn="ctr">
              <a:lnSpc>
                <a:spcPct val="105600"/>
              </a:lnSpc>
              <a:spcBef>
                <a:spcPts val="90"/>
              </a:spcBef>
            </a:pPr>
            <a:r>
              <a:rPr sz="700" spc="25" dirty="0">
                <a:latin typeface="Calibri"/>
                <a:cs typeface="Calibri"/>
              </a:rPr>
              <a:t>Service  Configuration</a:t>
            </a:r>
            <a:r>
              <a:rPr sz="700" spc="-50" dirty="0">
                <a:latin typeface="Calibri"/>
                <a:cs typeface="Calibri"/>
              </a:rPr>
              <a:t> </a:t>
            </a:r>
            <a:r>
              <a:rPr sz="700" spc="20" dirty="0">
                <a:latin typeface="Calibri"/>
                <a:cs typeface="Calibri"/>
              </a:rPr>
              <a:t>(via  </a:t>
            </a:r>
            <a:r>
              <a:rPr sz="700" spc="15" dirty="0">
                <a:latin typeface="Calibri"/>
                <a:cs typeface="Calibri"/>
              </a:rPr>
              <a:t>S</a:t>
            </a:r>
            <a:r>
              <a:rPr sz="700" u="sng" spc="15" dirty="0">
                <a:uFill>
                  <a:solidFill>
                    <a:srgbClr val="5B9BD4"/>
                  </a:solidFill>
                </a:uFill>
                <a:latin typeface="Calibri"/>
                <a:cs typeface="Calibri"/>
              </a:rPr>
              <a:t>elf</a:t>
            </a:r>
            <a:r>
              <a:rPr sz="700" spc="10" dirty="0">
                <a:latin typeface="Calibri"/>
                <a:cs typeface="Calibri"/>
              </a:rPr>
              <a:t> </a:t>
            </a:r>
            <a:r>
              <a:rPr sz="700" spc="25" dirty="0">
                <a:latin typeface="Calibri"/>
                <a:cs typeface="Calibri"/>
              </a:rPr>
              <a:t>Care)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179756" y="2813732"/>
            <a:ext cx="39116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377825" algn="l"/>
              </a:tabLst>
            </a:pPr>
            <a:r>
              <a:rPr sz="700" strike="sngStrike" spc="35" dirty="0">
                <a:solidFill>
                  <a:srgbClr val="FDFFFF"/>
                </a:solidFill>
                <a:latin typeface="Calibri"/>
                <a:cs typeface="Calibri"/>
              </a:rPr>
              <a:t>3	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034606" y="3152161"/>
            <a:ext cx="7493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4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575670" y="2273550"/>
            <a:ext cx="89408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189865" algn="l"/>
                <a:tab pos="703580" algn="l"/>
                <a:tab pos="880744" algn="l"/>
              </a:tabLst>
            </a:pPr>
            <a:r>
              <a:rPr sz="700" strike="sngStrike" spc="35" dirty="0">
                <a:solidFill>
                  <a:srgbClr val="FDFFFF"/>
                </a:solidFill>
                <a:latin typeface="Calibri"/>
                <a:cs typeface="Calibri"/>
              </a:rPr>
              <a:t>5	</a:t>
            </a:r>
            <a:r>
              <a:rPr sz="700" strike="noStrike" spc="35" dirty="0">
                <a:solidFill>
                  <a:srgbClr val="FDFFFF"/>
                </a:solidFill>
                <a:latin typeface="Calibri"/>
                <a:cs typeface="Calibri"/>
              </a:rPr>
              <a:t>	</a:t>
            </a:r>
            <a:r>
              <a:rPr sz="700" strike="sngStrike" spc="35" dirty="0">
                <a:solidFill>
                  <a:srgbClr val="FDFFFF"/>
                </a:solidFill>
                <a:latin typeface="Calibri"/>
                <a:cs typeface="Calibri"/>
              </a:rPr>
              <a:t>6	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620519" y="2400738"/>
            <a:ext cx="74930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35" dirty="0">
                <a:solidFill>
                  <a:srgbClr val="FDFFFF"/>
                </a:solidFill>
                <a:latin typeface="Calibri"/>
                <a:cs typeface="Calibri"/>
              </a:rPr>
              <a:t>7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4895593" y="2273550"/>
            <a:ext cx="202565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189230" algn="l"/>
              </a:tabLst>
            </a:pPr>
            <a:r>
              <a:rPr sz="700" strike="sngStrike" spc="35" dirty="0">
                <a:solidFill>
                  <a:srgbClr val="FDFFFF"/>
                </a:solidFill>
                <a:latin typeface="Calibri"/>
                <a:cs typeface="Calibri"/>
              </a:rPr>
              <a:t>8	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010214" y="3352064"/>
            <a:ext cx="7493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9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790996" y="2179854"/>
            <a:ext cx="123189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20" dirty="0">
                <a:solidFill>
                  <a:srgbClr val="FDFFFF"/>
                </a:solidFill>
                <a:latin typeface="Calibri"/>
                <a:cs typeface="Calibri"/>
              </a:rPr>
              <a:t>14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036415" y="2043544"/>
            <a:ext cx="123825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15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3034165" y="3331840"/>
            <a:ext cx="195580" cy="11493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182245" algn="l"/>
              </a:tabLst>
            </a:pPr>
            <a:r>
              <a:rPr sz="550" u="sng" spc="10" dirty="0">
                <a:uFill>
                  <a:solidFill>
                    <a:srgbClr val="5B9BD4"/>
                  </a:solidFill>
                </a:uFill>
                <a:latin typeface="Calibri"/>
                <a:cs typeface="Calibri"/>
              </a:rPr>
              <a:t> 	</a:t>
            </a:r>
            <a:endParaRPr sz="55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3384006" y="3331840"/>
            <a:ext cx="445770" cy="2901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indent="-3810" algn="ctr">
              <a:lnSpc>
                <a:spcPct val="1046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Service</a:t>
            </a:r>
            <a:r>
              <a:rPr sz="550" spc="-60" dirty="0">
                <a:latin typeface="Calibri"/>
                <a:cs typeface="Calibri"/>
              </a:rPr>
              <a:t> </a:t>
            </a:r>
            <a:r>
              <a:rPr sz="550" spc="20" dirty="0">
                <a:latin typeface="Calibri"/>
                <a:cs typeface="Calibri"/>
              </a:rPr>
              <a:t>Order  for </a:t>
            </a:r>
            <a:r>
              <a:rPr sz="550" spc="30" dirty="0">
                <a:latin typeface="Calibri"/>
                <a:cs typeface="Calibri"/>
              </a:rPr>
              <a:t>SP</a:t>
            </a:r>
            <a:r>
              <a:rPr sz="550" spc="-95" dirty="0">
                <a:latin typeface="Calibri"/>
                <a:cs typeface="Calibri"/>
              </a:rPr>
              <a:t> </a:t>
            </a:r>
            <a:r>
              <a:rPr sz="550" spc="15" dirty="0">
                <a:latin typeface="Calibri"/>
                <a:cs typeface="Calibri"/>
              </a:rPr>
              <a:t>Service  </a:t>
            </a:r>
            <a:r>
              <a:rPr sz="550" spc="25" dirty="0">
                <a:latin typeface="Calibri"/>
                <a:cs typeface="Calibri"/>
              </a:rPr>
              <a:t>TMF</a:t>
            </a:r>
            <a:r>
              <a:rPr sz="550" spc="-15" dirty="0">
                <a:latin typeface="Calibri"/>
                <a:cs typeface="Calibri"/>
              </a:rPr>
              <a:t> </a:t>
            </a:r>
            <a:r>
              <a:rPr sz="550" spc="25" dirty="0">
                <a:latin typeface="Calibri"/>
                <a:cs typeface="Calibri"/>
              </a:rPr>
              <a:t>641</a:t>
            </a:r>
            <a:endParaRPr sz="55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041034" y="3149815"/>
            <a:ext cx="668020" cy="536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 marR="5080" indent="-1905" algn="ctr">
              <a:lnSpc>
                <a:spcPct val="1045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Service Inventory  </a:t>
            </a:r>
            <a:r>
              <a:rPr sz="550" spc="20" dirty="0">
                <a:latin typeface="Calibri"/>
                <a:cs typeface="Calibri"/>
              </a:rPr>
              <a:t>Update </a:t>
            </a:r>
            <a:r>
              <a:rPr sz="550" spc="10" dirty="0">
                <a:latin typeface="Calibri"/>
                <a:cs typeface="Calibri"/>
              </a:rPr>
              <a:t>for </a:t>
            </a:r>
            <a:r>
              <a:rPr sz="550" spc="15" dirty="0">
                <a:latin typeface="Calibri"/>
                <a:cs typeface="Calibri"/>
              </a:rPr>
              <a:t>Partner  Service </a:t>
            </a:r>
            <a:r>
              <a:rPr sz="550" spc="25" dirty="0">
                <a:latin typeface="Calibri"/>
                <a:cs typeface="Calibri"/>
              </a:rPr>
              <a:t>ID – TMF  </a:t>
            </a:r>
            <a:r>
              <a:rPr sz="550" spc="20" dirty="0">
                <a:latin typeface="Calibri"/>
                <a:cs typeface="Calibri"/>
              </a:rPr>
              <a:t>638</a:t>
            </a:r>
            <a:endParaRPr sz="55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  <a:tabLst>
                <a:tab pos="255270" algn="l"/>
              </a:tabLst>
            </a:pPr>
            <a:r>
              <a:rPr sz="700" strike="sngStrike" spc="15" dirty="0">
                <a:solidFill>
                  <a:srgbClr val="FDFFFF"/>
                </a:solidFill>
                <a:latin typeface="Calibri"/>
                <a:cs typeface="Calibri"/>
              </a:rPr>
              <a:t> 	</a:t>
            </a:r>
            <a:r>
              <a:rPr sz="700" strike="sngStrike" spc="25" dirty="0">
                <a:solidFill>
                  <a:srgbClr val="FDFFFF"/>
                </a:solidFill>
                <a:latin typeface="Calibri"/>
                <a:cs typeface="Calibri"/>
              </a:rPr>
              <a:t>1</a:t>
            </a:r>
            <a:r>
              <a:rPr sz="700" strike="noStrike" spc="25" dirty="0">
                <a:solidFill>
                  <a:srgbClr val="FDFFFF"/>
                </a:solidFill>
                <a:latin typeface="Calibri"/>
                <a:cs typeface="Calibri"/>
              </a:rPr>
              <a:t>6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4139014" y="3141996"/>
            <a:ext cx="498475" cy="5264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7945" marR="5080" algn="ctr">
              <a:lnSpc>
                <a:spcPct val="1045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Service</a:t>
            </a:r>
            <a:r>
              <a:rPr sz="550" spc="-70" dirty="0">
                <a:latin typeface="Calibri"/>
                <a:cs typeface="Calibri"/>
              </a:rPr>
              <a:t> </a:t>
            </a:r>
            <a:r>
              <a:rPr sz="550" spc="20" dirty="0">
                <a:latin typeface="Calibri"/>
                <a:cs typeface="Calibri"/>
              </a:rPr>
              <a:t>Order  Request for  </a:t>
            </a:r>
            <a:r>
              <a:rPr sz="550" spc="15" dirty="0">
                <a:latin typeface="Calibri"/>
                <a:cs typeface="Calibri"/>
              </a:rPr>
              <a:t>Partner-</a:t>
            </a:r>
            <a:r>
              <a:rPr sz="550" spc="-40" dirty="0">
                <a:latin typeface="Calibri"/>
                <a:cs typeface="Calibri"/>
              </a:rPr>
              <a:t> </a:t>
            </a:r>
            <a:r>
              <a:rPr sz="550" spc="25" dirty="0">
                <a:latin typeface="Calibri"/>
                <a:cs typeface="Calibri"/>
              </a:rPr>
              <a:t>TMF  </a:t>
            </a:r>
            <a:r>
              <a:rPr sz="550" spc="20" dirty="0">
                <a:latin typeface="Calibri"/>
                <a:cs typeface="Calibri"/>
              </a:rPr>
              <a:t>641</a:t>
            </a:r>
            <a:endParaRPr sz="55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  <a:tabLst>
                <a:tab pos="254635" algn="l"/>
              </a:tabLst>
            </a:pPr>
            <a:r>
              <a:rPr sz="700" strike="sngStrike" spc="15" dirty="0">
                <a:solidFill>
                  <a:srgbClr val="FDFFFF"/>
                </a:solidFill>
                <a:latin typeface="Calibri"/>
                <a:cs typeface="Calibri"/>
              </a:rPr>
              <a:t> 	</a:t>
            </a:r>
            <a:r>
              <a:rPr sz="700" strike="sngStrike" spc="20" dirty="0">
                <a:solidFill>
                  <a:srgbClr val="FDFFFF"/>
                </a:solidFill>
                <a:latin typeface="Calibri"/>
                <a:cs typeface="Calibri"/>
              </a:rPr>
              <a:t>1</a:t>
            </a:r>
            <a:r>
              <a:rPr sz="700" strike="noStrike" spc="20" dirty="0">
                <a:solidFill>
                  <a:srgbClr val="FDFFFF"/>
                </a:solidFill>
                <a:latin typeface="Calibri"/>
                <a:cs typeface="Calibri"/>
              </a:rPr>
              <a:t>3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850386" y="4010781"/>
            <a:ext cx="36703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55904" algn="l"/>
              </a:tabLst>
            </a:pPr>
            <a:r>
              <a:rPr sz="700" strike="sngStrike" spc="15" dirty="0">
                <a:solidFill>
                  <a:srgbClr val="FDFFFF"/>
                </a:solidFill>
                <a:latin typeface="Calibri"/>
                <a:cs typeface="Calibri"/>
              </a:rPr>
              <a:t> 	</a:t>
            </a:r>
            <a:r>
              <a:rPr sz="700" strike="sngStrike" spc="20" dirty="0">
                <a:solidFill>
                  <a:srgbClr val="FDFFFF"/>
                </a:solidFill>
                <a:latin typeface="Calibri"/>
                <a:cs typeface="Calibri"/>
              </a:rPr>
              <a:t>1</a:t>
            </a:r>
            <a:r>
              <a:rPr sz="700" strike="noStrike" spc="20" dirty="0">
                <a:solidFill>
                  <a:srgbClr val="FDFFFF"/>
                </a:solidFill>
                <a:latin typeface="Calibri"/>
                <a:cs typeface="Calibri"/>
              </a:rPr>
              <a:t>7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863825" y="4216575"/>
            <a:ext cx="662940" cy="377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-1270" algn="ctr">
              <a:lnSpc>
                <a:spcPct val="1045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Partner Service  Instance </a:t>
            </a:r>
            <a:r>
              <a:rPr sz="550" spc="25" dirty="0">
                <a:latin typeface="Calibri"/>
                <a:cs typeface="Calibri"/>
              </a:rPr>
              <a:t>Id  </a:t>
            </a:r>
            <a:r>
              <a:rPr sz="550" spc="15" dirty="0">
                <a:latin typeface="Calibri"/>
                <a:cs typeface="Calibri"/>
              </a:rPr>
              <a:t>Updated,</a:t>
            </a:r>
            <a:r>
              <a:rPr sz="550" spc="-10" dirty="0">
                <a:latin typeface="Calibri"/>
                <a:cs typeface="Calibri"/>
              </a:rPr>
              <a:t> </a:t>
            </a:r>
            <a:r>
              <a:rPr sz="550" spc="15" dirty="0">
                <a:latin typeface="Calibri"/>
                <a:cs typeface="Calibri"/>
              </a:rPr>
              <a:t>Associated  </a:t>
            </a:r>
            <a:r>
              <a:rPr sz="550" spc="20" dirty="0">
                <a:latin typeface="Calibri"/>
                <a:cs typeface="Calibri"/>
              </a:rPr>
              <a:t>with</a:t>
            </a:r>
            <a:r>
              <a:rPr sz="550" spc="-10" dirty="0">
                <a:latin typeface="Calibri"/>
                <a:cs typeface="Calibri"/>
              </a:rPr>
              <a:t> </a:t>
            </a:r>
            <a:r>
              <a:rPr sz="550" spc="15" dirty="0">
                <a:latin typeface="Calibri"/>
                <a:cs typeface="Calibri"/>
              </a:rPr>
              <a:t>Partner</a:t>
            </a:r>
            <a:endParaRPr sz="55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5522553" y="2367664"/>
            <a:ext cx="405130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91795" algn="l"/>
              </a:tabLst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1</a:t>
            </a:r>
            <a:r>
              <a:rPr sz="700" strike="sngStrike" spc="25" dirty="0">
                <a:solidFill>
                  <a:srgbClr val="FDFFFF"/>
                </a:solidFill>
                <a:latin typeface="Calibri"/>
                <a:cs typeface="Calibri"/>
              </a:rPr>
              <a:t>8	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5973563" y="3235693"/>
            <a:ext cx="550545" cy="44386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marR="106680" algn="ctr">
              <a:lnSpc>
                <a:spcPts val="690"/>
              </a:lnSpc>
              <a:spcBef>
                <a:spcPts val="130"/>
              </a:spcBef>
            </a:pPr>
            <a:r>
              <a:rPr sz="550" spc="15" dirty="0">
                <a:latin typeface="Calibri"/>
                <a:cs typeface="Calibri"/>
              </a:rPr>
              <a:t>Service  </a:t>
            </a:r>
            <a:r>
              <a:rPr sz="550" spc="25" dirty="0">
                <a:latin typeface="Calibri"/>
                <a:cs typeface="Calibri"/>
              </a:rPr>
              <a:t>Con</a:t>
            </a:r>
            <a:r>
              <a:rPr sz="550" spc="-15" dirty="0">
                <a:latin typeface="Calibri"/>
                <a:cs typeface="Calibri"/>
              </a:rPr>
              <a:t>f</a:t>
            </a:r>
            <a:r>
              <a:rPr sz="550" spc="25" dirty="0">
                <a:latin typeface="Calibri"/>
                <a:cs typeface="Calibri"/>
              </a:rPr>
              <a:t>i</a:t>
            </a:r>
            <a:r>
              <a:rPr sz="550" spc="-10" dirty="0">
                <a:latin typeface="Calibri"/>
                <a:cs typeface="Calibri"/>
              </a:rPr>
              <a:t>g</a:t>
            </a:r>
            <a:r>
              <a:rPr sz="550" spc="25" dirty="0">
                <a:latin typeface="Calibri"/>
                <a:cs typeface="Calibri"/>
              </a:rPr>
              <a:t>u</a:t>
            </a:r>
            <a:r>
              <a:rPr sz="550" spc="30" dirty="0">
                <a:latin typeface="Calibri"/>
                <a:cs typeface="Calibri"/>
              </a:rPr>
              <a:t>r</a:t>
            </a:r>
            <a:r>
              <a:rPr sz="550" spc="20" dirty="0">
                <a:latin typeface="Calibri"/>
                <a:cs typeface="Calibri"/>
              </a:rPr>
              <a:t>a</a:t>
            </a:r>
            <a:r>
              <a:rPr sz="550" dirty="0">
                <a:latin typeface="Calibri"/>
                <a:cs typeface="Calibri"/>
              </a:rPr>
              <a:t>ti</a:t>
            </a:r>
            <a:r>
              <a:rPr sz="550" spc="15" dirty="0">
                <a:latin typeface="Calibri"/>
                <a:cs typeface="Calibri"/>
              </a:rPr>
              <a:t>on  </a:t>
            </a:r>
            <a:r>
              <a:rPr sz="550" spc="40" dirty="0">
                <a:latin typeface="Calibri"/>
                <a:cs typeface="Calibri"/>
              </a:rPr>
              <a:t>&amp; </a:t>
            </a:r>
            <a:r>
              <a:rPr sz="550" spc="15" dirty="0">
                <a:latin typeface="Calibri"/>
                <a:cs typeface="Calibri"/>
              </a:rPr>
              <a:t>Activation  </a:t>
            </a:r>
            <a:r>
              <a:rPr sz="550" spc="25" dirty="0">
                <a:latin typeface="Calibri"/>
                <a:cs typeface="Calibri"/>
              </a:rPr>
              <a:t>TMF</a:t>
            </a:r>
            <a:r>
              <a:rPr sz="550" spc="-15" dirty="0">
                <a:latin typeface="Calibri"/>
                <a:cs typeface="Calibri"/>
              </a:rPr>
              <a:t> </a:t>
            </a:r>
            <a:r>
              <a:rPr sz="550" spc="25" dirty="0">
                <a:latin typeface="Calibri"/>
                <a:cs typeface="Calibri"/>
              </a:rPr>
              <a:t>640</a:t>
            </a:r>
            <a:endParaRPr sz="550">
              <a:latin typeface="Calibri"/>
              <a:cs typeface="Calibri"/>
            </a:endParaRPr>
          </a:p>
          <a:p>
            <a:pPr marR="5080" algn="r">
              <a:lnSpc>
                <a:spcPts val="490"/>
              </a:lnSpc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19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8313981" y="3764258"/>
            <a:ext cx="2974975" cy="313055"/>
          </a:xfrm>
          <a:prstGeom prst="rect">
            <a:avLst/>
          </a:prstGeom>
          <a:ln w="3915">
            <a:solidFill>
              <a:srgbClr val="2C5170"/>
            </a:solidFill>
          </a:ln>
        </p:spPr>
        <p:txBody>
          <a:bodyPr vert="horz" wrap="square" lIns="0" tIns="52705" rIns="0" bIns="0" rtlCol="0">
            <a:spAutoFit/>
          </a:bodyPr>
          <a:lstStyle/>
          <a:p>
            <a:pPr marL="937894">
              <a:lnSpc>
                <a:spcPct val="100000"/>
              </a:lnSpc>
              <a:spcBef>
                <a:spcPts val="415"/>
              </a:spcBef>
            </a:pPr>
            <a:r>
              <a:rPr sz="1200" spc="30" dirty="0">
                <a:solidFill>
                  <a:srgbClr val="FDFFFF"/>
                </a:solidFill>
                <a:latin typeface="Calibri"/>
                <a:cs typeface="Calibri"/>
              </a:rPr>
              <a:t>Ext-API</a:t>
            </a:r>
            <a:r>
              <a:rPr sz="1200" spc="5" dirty="0">
                <a:solidFill>
                  <a:srgbClr val="FDFFFF"/>
                </a:solidFill>
                <a:latin typeface="Calibri"/>
                <a:cs typeface="Calibri"/>
              </a:rPr>
              <a:t> </a:t>
            </a:r>
            <a:r>
              <a:rPr sz="1200" spc="25" dirty="0">
                <a:solidFill>
                  <a:srgbClr val="FDFFFF"/>
                </a:solidFill>
                <a:latin typeface="Calibri"/>
                <a:cs typeface="Calibri"/>
              </a:rPr>
              <a:t>(Partner)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6406529" y="3771132"/>
            <a:ext cx="1869439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Service Config </a:t>
            </a:r>
            <a:r>
              <a:rPr sz="700" spc="45" dirty="0">
                <a:solidFill>
                  <a:srgbClr val="FDFFFF"/>
                </a:solidFill>
                <a:latin typeface="Calibri"/>
                <a:cs typeface="Calibri"/>
              </a:rPr>
              <a:t>&amp; </a:t>
            </a:r>
            <a:r>
              <a:rPr sz="700" spc="20" dirty="0">
                <a:solidFill>
                  <a:srgbClr val="FDFFFF"/>
                </a:solidFill>
                <a:latin typeface="Calibri"/>
                <a:cs typeface="Calibri"/>
              </a:rPr>
              <a:t>Activation </a:t>
            </a: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Request (TMF</a:t>
            </a:r>
            <a:r>
              <a:rPr sz="700" spc="-65" dirty="0">
                <a:solidFill>
                  <a:srgbClr val="FDFFFF"/>
                </a:solidFill>
                <a:latin typeface="Calibri"/>
                <a:cs typeface="Calibri"/>
              </a:rPr>
              <a:t> </a:t>
            </a: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640)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9043446" y="3316201"/>
            <a:ext cx="445770" cy="2901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065" marR="5080" indent="-3810" algn="ctr">
              <a:lnSpc>
                <a:spcPct val="1046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Service</a:t>
            </a:r>
            <a:r>
              <a:rPr sz="550" spc="-60" dirty="0">
                <a:latin typeface="Calibri"/>
                <a:cs typeface="Calibri"/>
              </a:rPr>
              <a:t> </a:t>
            </a:r>
            <a:r>
              <a:rPr sz="550" spc="20" dirty="0">
                <a:latin typeface="Calibri"/>
                <a:cs typeface="Calibri"/>
              </a:rPr>
              <a:t>Order  for </a:t>
            </a:r>
            <a:r>
              <a:rPr sz="550" spc="30" dirty="0">
                <a:latin typeface="Calibri"/>
                <a:cs typeface="Calibri"/>
              </a:rPr>
              <a:t>SP</a:t>
            </a:r>
            <a:r>
              <a:rPr sz="550" spc="-95" dirty="0">
                <a:latin typeface="Calibri"/>
                <a:cs typeface="Calibri"/>
              </a:rPr>
              <a:t> </a:t>
            </a:r>
            <a:r>
              <a:rPr sz="550" spc="15" dirty="0">
                <a:latin typeface="Calibri"/>
                <a:cs typeface="Calibri"/>
              </a:rPr>
              <a:t>Service  </a:t>
            </a:r>
            <a:r>
              <a:rPr sz="550" spc="25" dirty="0">
                <a:latin typeface="Calibri"/>
                <a:cs typeface="Calibri"/>
              </a:rPr>
              <a:t>TMF</a:t>
            </a:r>
            <a:r>
              <a:rPr sz="550" spc="-15" dirty="0">
                <a:latin typeface="Calibri"/>
                <a:cs typeface="Calibri"/>
              </a:rPr>
              <a:t> </a:t>
            </a:r>
            <a:r>
              <a:rPr sz="550" spc="25" dirty="0">
                <a:latin typeface="Calibri"/>
                <a:cs typeface="Calibri"/>
              </a:rPr>
              <a:t>641</a:t>
            </a:r>
            <a:endParaRPr sz="550"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412693" y="3400255"/>
            <a:ext cx="198755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14.1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7278800" y="3494368"/>
            <a:ext cx="123825" cy="1384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00" spc="25" dirty="0">
                <a:solidFill>
                  <a:srgbClr val="FDFFFF"/>
                </a:solidFill>
                <a:latin typeface="Calibri"/>
                <a:cs typeface="Calibri"/>
              </a:rPr>
              <a:t>23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8313981" y="4715559"/>
            <a:ext cx="1780539" cy="313055"/>
          </a:xfrm>
          <a:prstGeom prst="rect">
            <a:avLst/>
          </a:prstGeom>
          <a:ln w="3918">
            <a:solidFill>
              <a:srgbClr val="2C5170"/>
            </a:solidFill>
          </a:ln>
        </p:spPr>
        <p:txBody>
          <a:bodyPr vert="horz" wrap="square" lIns="0" tIns="75565" rIns="0" bIns="0" rtlCol="0">
            <a:spAutoFit/>
          </a:bodyPr>
          <a:lstStyle/>
          <a:p>
            <a:pPr marL="6985" algn="ctr">
              <a:lnSpc>
                <a:spcPct val="100000"/>
              </a:lnSpc>
              <a:spcBef>
                <a:spcPts val="595"/>
              </a:spcBef>
            </a:pPr>
            <a:r>
              <a:rPr sz="950" spc="40" dirty="0">
                <a:solidFill>
                  <a:srgbClr val="FDFFFF"/>
                </a:solidFill>
                <a:latin typeface="Calibri"/>
                <a:cs typeface="Calibri"/>
              </a:rPr>
              <a:t>SO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8945040" y="4245374"/>
            <a:ext cx="408305" cy="13843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0"/>
              </a:spcBef>
              <a:tabLst>
                <a:tab pos="297815" algn="l"/>
              </a:tabLst>
            </a:pPr>
            <a:r>
              <a:rPr sz="700" strike="sngStrike" spc="15" dirty="0">
                <a:solidFill>
                  <a:srgbClr val="FDFFFF"/>
                </a:solidFill>
                <a:latin typeface="Calibri"/>
                <a:cs typeface="Calibri"/>
              </a:rPr>
              <a:t> 	</a:t>
            </a:r>
            <a:r>
              <a:rPr sz="700" strike="sngStrike" spc="25" dirty="0">
                <a:solidFill>
                  <a:srgbClr val="FDFFFF"/>
                </a:solidFill>
                <a:latin typeface="Calibri"/>
                <a:cs typeface="Calibri"/>
              </a:rPr>
              <a:t>2</a:t>
            </a:r>
            <a:r>
              <a:rPr sz="700" strike="noStrike" spc="25" dirty="0">
                <a:solidFill>
                  <a:srgbClr val="FDFFFF"/>
                </a:solidFill>
                <a:latin typeface="Calibri"/>
                <a:cs typeface="Calibri"/>
              </a:rPr>
              <a:t>4</a:t>
            </a:r>
            <a:endParaRPr sz="700">
              <a:latin typeface="Calibri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9446066" y="4223872"/>
            <a:ext cx="419734" cy="2901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635" algn="ctr">
              <a:lnSpc>
                <a:spcPct val="104500"/>
              </a:lnSpc>
              <a:spcBef>
                <a:spcPts val="105"/>
              </a:spcBef>
            </a:pPr>
            <a:r>
              <a:rPr sz="550" spc="15" dirty="0">
                <a:latin typeface="Calibri"/>
                <a:cs typeface="Calibri"/>
              </a:rPr>
              <a:t>Service  </a:t>
            </a:r>
            <a:r>
              <a:rPr sz="550" spc="40" dirty="0">
                <a:latin typeface="Calibri"/>
                <a:cs typeface="Calibri"/>
              </a:rPr>
              <a:t>M</a:t>
            </a:r>
            <a:r>
              <a:rPr sz="550" spc="25" dirty="0">
                <a:latin typeface="Calibri"/>
                <a:cs typeface="Calibri"/>
              </a:rPr>
              <a:t>od</a:t>
            </a:r>
            <a:r>
              <a:rPr sz="550" spc="-5" dirty="0">
                <a:latin typeface="Calibri"/>
                <a:cs typeface="Calibri"/>
              </a:rPr>
              <a:t>i</a:t>
            </a:r>
            <a:r>
              <a:rPr sz="550" spc="20" dirty="0">
                <a:latin typeface="Calibri"/>
                <a:cs typeface="Calibri"/>
              </a:rPr>
              <a:t>f</a:t>
            </a:r>
            <a:r>
              <a:rPr sz="550" spc="-5" dirty="0">
                <a:latin typeface="Calibri"/>
                <a:cs typeface="Calibri"/>
              </a:rPr>
              <a:t>i</a:t>
            </a:r>
            <a:r>
              <a:rPr sz="550" spc="25" dirty="0">
                <a:latin typeface="Calibri"/>
                <a:cs typeface="Calibri"/>
              </a:rPr>
              <a:t>c</a:t>
            </a:r>
            <a:r>
              <a:rPr sz="550" spc="15" dirty="0">
                <a:latin typeface="Calibri"/>
                <a:cs typeface="Calibri"/>
              </a:rPr>
              <a:t>a</a:t>
            </a:r>
            <a:r>
              <a:rPr sz="550" dirty="0">
                <a:latin typeface="Calibri"/>
                <a:cs typeface="Calibri"/>
              </a:rPr>
              <a:t>ti</a:t>
            </a:r>
            <a:r>
              <a:rPr sz="550" spc="15" dirty="0">
                <a:latin typeface="Calibri"/>
                <a:cs typeface="Calibri"/>
              </a:rPr>
              <a:t>on  </a:t>
            </a:r>
            <a:r>
              <a:rPr sz="550" spc="20" dirty="0">
                <a:latin typeface="Calibri"/>
                <a:cs typeface="Calibri"/>
              </a:rPr>
              <a:t>Request</a:t>
            </a:r>
            <a:endParaRPr sz="550">
              <a:latin typeface="Calibri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477813" y="5184269"/>
            <a:ext cx="400685" cy="35306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R="5715" algn="r">
              <a:lnSpc>
                <a:spcPct val="100000"/>
              </a:lnSpc>
              <a:spcBef>
                <a:spcPts val="140"/>
              </a:spcBef>
            </a:pPr>
            <a:r>
              <a:rPr sz="700" spc="30" dirty="0">
                <a:solidFill>
                  <a:srgbClr val="FDFFFF"/>
                </a:solidFill>
                <a:latin typeface="Calibri"/>
                <a:cs typeface="Calibri"/>
              </a:rPr>
              <a:t>4</a:t>
            </a:r>
            <a:r>
              <a:rPr sz="700" spc="15" dirty="0">
                <a:solidFill>
                  <a:srgbClr val="FDFFFF"/>
                </a:solidFill>
                <a:latin typeface="Calibri"/>
                <a:cs typeface="Calibri"/>
              </a:rPr>
              <a:t>.</a:t>
            </a:r>
            <a:endParaRPr sz="7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700">
              <a:latin typeface="Times New Roman"/>
              <a:cs typeface="Times New Roman"/>
            </a:endParaRPr>
          </a:p>
          <a:p>
            <a:pPr marR="5080" algn="r">
              <a:lnSpc>
                <a:spcPct val="100000"/>
              </a:lnSpc>
            </a:pPr>
            <a:r>
              <a:rPr sz="700" spc="20" dirty="0">
                <a:solidFill>
                  <a:srgbClr val="5B9BD4"/>
                </a:solidFill>
                <a:latin typeface="Calibri"/>
                <a:cs typeface="Calibri"/>
              </a:rPr>
              <a:t>Policy</a:t>
            </a:r>
            <a:r>
              <a:rPr sz="700" spc="-50" dirty="0">
                <a:solidFill>
                  <a:srgbClr val="5B9BD4"/>
                </a:solidFill>
                <a:latin typeface="Calibri"/>
                <a:cs typeface="Calibri"/>
              </a:rPr>
              <a:t> </a:t>
            </a:r>
            <a:r>
              <a:rPr sz="700" spc="25" dirty="0">
                <a:solidFill>
                  <a:srgbClr val="5B9BD4"/>
                </a:solidFill>
                <a:latin typeface="Calibri"/>
                <a:cs typeface="Calibri"/>
              </a:rPr>
              <a:t>Dis</a:t>
            </a:r>
            <a:endParaRPr sz="700">
              <a:latin typeface="Calibri"/>
              <a:cs typeface="Calibri"/>
            </a:endParaRPr>
          </a:p>
        </p:txBody>
      </p:sp>
      <p:graphicFrame>
        <p:nvGraphicFramePr>
          <p:cNvPr id="75" name="object 75"/>
          <p:cNvGraphicFramePr>
            <a:graphicFrameLocks noGrp="1"/>
          </p:cNvGraphicFramePr>
          <p:nvPr/>
        </p:nvGraphicFramePr>
        <p:xfrm>
          <a:off x="2849830" y="3762301"/>
          <a:ext cx="3994146" cy="21475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5500"/>
                <a:gridCol w="2088514"/>
                <a:gridCol w="491489"/>
                <a:gridCol w="106679"/>
                <a:gridCol w="481964"/>
              </a:tblGrid>
              <a:tr h="312756">
                <a:tc gridSpan="4"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3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Ext-API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52705" marB="0">
                    <a:lnL w="6350">
                      <a:solidFill>
                        <a:srgbClr val="2C5170"/>
                      </a:solidFill>
                      <a:prstDash val="solid"/>
                    </a:lnL>
                    <a:lnR w="6350">
                      <a:solidFill>
                        <a:srgbClr val="2C5170"/>
                      </a:solidFill>
                      <a:prstDash val="solid"/>
                    </a:lnR>
                    <a:lnT w="6350">
                      <a:solidFill>
                        <a:srgbClr val="2C5170"/>
                      </a:solidFill>
                      <a:prstDash val="solid"/>
                    </a:lnT>
                    <a:lnB w="6350">
                      <a:solidFill>
                        <a:srgbClr val="5B9BD4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2C5170"/>
                      </a:solidFill>
                      <a:prstDash val="solid"/>
                    </a:lnL>
                    <a:lnB w="28575">
                      <a:solidFill>
                        <a:srgbClr val="5B9BD4"/>
                      </a:solidFill>
                      <a:prstDash val="solid"/>
                    </a:lnB>
                  </a:tcPr>
                </a:tc>
              </a:tr>
              <a:tr h="18348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 marR="1416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550" b="1" spc="15" dirty="0">
                          <a:latin typeface="Calibri"/>
                          <a:cs typeface="Calibri"/>
                        </a:rPr>
                        <a:t>Design</a:t>
                      </a:r>
                      <a:r>
                        <a:rPr sz="55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b="1" spc="25" dirty="0">
                          <a:latin typeface="Calibri"/>
                          <a:cs typeface="Calibri"/>
                        </a:rPr>
                        <a:t>time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R="144780"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550" b="1" spc="15" dirty="0">
                          <a:latin typeface="Calibri"/>
                          <a:cs typeface="Calibri"/>
                        </a:rPr>
                        <a:t>Catalog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450">
                        <a:latin typeface="Times New Roman"/>
                        <a:cs typeface="Times New Roman"/>
                      </a:endParaRPr>
                    </a:p>
                    <a:p>
                      <a:pPr marL="12700">
                        <a:lnSpc>
                          <a:spcPct val="100000"/>
                        </a:lnSpc>
                      </a:pPr>
                      <a:r>
                        <a:rPr sz="70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  <a:p>
                      <a:pPr marL="1206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spc="25" dirty="0">
                          <a:solidFill>
                            <a:srgbClr val="5B9BD4"/>
                          </a:solidFill>
                          <a:latin typeface="Calibri"/>
                          <a:cs typeface="Calibri"/>
                        </a:rPr>
                        <a:t>tribution</a:t>
                      </a:r>
                      <a:endParaRPr sz="7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457834">
                        <a:lnSpc>
                          <a:spcPct val="100000"/>
                        </a:lnSpc>
                        <a:spcBef>
                          <a:spcPts val="325"/>
                        </a:spcBef>
                        <a:tabLst>
                          <a:tab pos="1503045" algn="l"/>
                        </a:tabLst>
                      </a:pPr>
                      <a:r>
                        <a:rPr sz="825" spc="22" baseline="-20202" dirty="0">
                          <a:latin typeface="Calibri"/>
                          <a:cs typeface="Calibri"/>
                        </a:rPr>
                        <a:t>Service	</a:t>
                      </a:r>
                      <a:r>
                        <a:rPr sz="550" spc="15" dirty="0">
                          <a:latin typeface="Calibri"/>
                          <a:cs typeface="Calibri"/>
                        </a:rPr>
                        <a:t>Service</a:t>
                      </a:r>
                      <a:r>
                        <a:rPr sz="5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Order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L="436880">
                        <a:lnSpc>
                          <a:spcPts val="600"/>
                        </a:lnSpc>
                        <a:spcBef>
                          <a:spcPts val="30"/>
                        </a:spcBef>
                        <a:tabLst>
                          <a:tab pos="985519" algn="l"/>
                          <a:tab pos="1408430" algn="l"/>
                        </a:tabLst>
                      </a:pPr>
                      <a:r>
                        <a:rPr sz="825" spc="22" baseline="-20202" dirty="0">
                          <a:latin typeface="Calibri"/>
                          <a:cs typeface="Calibri"/>
                        </a:rPr>
                        <a:t>Creation</a:t>
                      </a:r>
                      <a:r>
                        <a:rPr sz="825" u="sng" spc="22" baseline="-20202" dirty="0">
                          <a:uFill>
                            <a:solidFill>
                              <a:srgbClr val="5B9BD4"/>
                            </a:solidFill>
                          </a:uFill>
                          <a:latin typeface="Calibri"/>
                          <a:cs typeface="Calibri"/>
                        </a:rPr>
                        <a:t> 	</a:t>
                      </a:r>
                      <a:r>
                        <a:rPr sz="825" spc="22" baseline="-20202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Request for</a:t>
                      </a:r>
                      <a:r>
                        <a:rPr sz="550" spc="-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Partner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L="442595">
                        <a:lnSpc>
                          <a:spcPts val="780"/>
                        </a:lnSpc>
                        <a:tabLst>
                          <a:tab pos="1500505" algn="l"/>
                        </a:tabLst>
                      </a:pPr>
                      <a:r>
                        <a:rPr sz="825" spc="30" baseline="-20202" dirty="0">
                          <a:latin typeface="Calibri"/>
                          <a:cs typeface="Calibri"/>
                        </a:rPr>
                        <a:t>Request  </a:t>
                      </a:r>
                      <a:r>
                        <a:rPr sz="825" spc="232" baseline="-20202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37" baseline="-11904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0	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(As </a:t>
                      </a:r>
                      <a:r>
                        <a:rPr sz="550" spc="25" dirty="0">
                          <a:latin typeface="Calibri"/>
                          <a:cs typeface="Calibri"/>
                        </a:rPr>
                        <a:t>in</a:t>
                      </a:r>
                      <a:r>
                        <a:rPr sz="55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CCVPN)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R="513715" algn="r">
                        <a:lnSpc>
                          <a:spcPts val="505"/>
                        </a:lnSpc>
                        <a:spcBef>
                          <a:spcPts val="275"/>
                        </a:spcBef>
                        <a:tabLst>
                          <a:tab pos="231775" algn="l"/>
                        </a:tabLst>
                      </a:pPr>
                      <a:r>
                        <a:rPr sz="550" u="sng" dirty="0">
                          <a:uFill>
                            <a:solidFill>
                              <a:srgbClr val="5B9BD4"/>
                            </a:solidFill>
                          </a:uFill>
                          <a:latin typeface="Calibri"/>
                          <a:cs typeface="Calibri"/>
                        </a:rPr>
                        <a:t> 	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R="480059" algn="r">
                        <a:lnSpc>
                          <a:spcPts val="685"/>
                        </a:lnSpc>
                      </a:pPr>
                      <a:r>
                        <a:rPr sz="700" spc="-1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2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 marL="497205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700" spc="25" dirty="0">
                          <a:solidFill>
                            <a:srgbClr val="5B9BD4"/>
                          </a:solidFill>
                          <a:latin typeface="Calibri"/>
                          <a:cs typeface="Calibri"/>
                        </a:rPr>
                        <a:t>Service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 marL="403860">
                        <a:lnSpc>
                          <a:spcPts val="615"/>
                        </a:lnSpc>
                        <a:spcBef>
                          <a:spcPts val="45"/>
                        </a:spcBef>
                      </a:pPr>
                      <a:r>
                        <a:rPr sz="700" spc="25" dirty="0">
                          <a:solidFill>
                            <a:srgbClr val="5B9BD4"/>
                          </a:solidFill>
                          <a:latin typeface="Calibri"/>
                          <a:cs typeface="Calibri"/>
                        </a:rPr>
                        <a:t>Distribution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 marR="208279" algn="r">
                        <a:lnSpc>
                          <a:spcPts val="915"/>
                        </a:lnSpc>
                      </a:pPr>
                      <a:r>
                        <a:rPr sz="950" spc="5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5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O</a:t>
                      </a:r>
                      <a:endParaRPr sz="950">
                        <a:latin typeface="Calibri"/>
                        <a:cs typeface="Calibri"/>
                      </a:endParaRPr>
                    </a:p>
                    <a:p>
                      <a:pPr marL="479425">
                        <a:lnSpc>
                          <a:spcPct val="100000"/>
                        </a:lnSpc>
                        <a:spcBef>
                          <a:spcPts val="420"/>
                        </a:spcBef>
                      </a:pPr>
                      <a:r>
                        <a:rPr sz="700" spc="25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4.2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 marL="165100" algn="ctr">
                        <a:lnSpc>
                          <a:spcPts val="605"/>
                        </a:lnSpc>
                        <a:spcBef>
                          <a:spcPts val="285"/>
                        </a:spcBef>
                      </a:pPr>
                      <a:r>
                        <a:rPr sz="550" spc="15" dirty="0">
                          <a:latin typeface="Calibri"/>
                          <a:cs typeface="Calibri"/>
                        </a:rPr>
                        <a:t>Service</a:t>
                      </a:r>
                      <a:r>
                        <a:rPr sz="5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15" dirty="0">
                          <a:latin typeface="Calibri"/>
                          <a:cs typeface="Calibri"/>
                        </a:rPr>
                        <a:t>Instance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L="299085">
                        <a:lnSpc>
                          <a:spcPts val="785"/>
                        </a:lnSpc>
                        <a:tabLst>
                          <a:tab pos="589280" algn="l"/>
                          <a:tab pos="995044" algn="l"/>
                        </a:tabLst>
                      </a:pPr>
                      <a:r>
                        <a:rPr sz="700" strike="sngStrike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 	</a:t>
                      </a:r>
                      <a:r>
                        <a:rPr sz="700" strike="sngStrike" spc="3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700" strike="noStrike" spc="3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2	</a:t>
                      </a:r>
                      <a:r>
                        <a:rPr sz="550" strike="noStrike" spc="15" dirty="0">
                          <a:latin typeface="Calibri"/>
                          <a:cs typeface="Calibri"/>
                        </a:rPr>
                        <a:t>Creation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L="420370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550" spc="15" dirty="0">
                          <a:latin typeface="Calibri"/>
                          <a:cs typeface="Calibri"/>
                        </a:rPr>
                        <a:t>Policy</a:t>
                      </a:r>
                      <a:r>
                        <a:rPr sz="55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Check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R="854075" algn="ctr">
                        <a:lnSpc>
                          <a:spcPts val="600"/>
                        </a:lnSpc>
                        <a:spcBef>
                          <a:spcPts val="30"/>
                        </a:spcBef>
                      </a:pPr>
                      <a:r>
                        <a:rPr sz="550" spc="25" dirty="0">
                          <a:latin typeface="Calibri"/>
                          <a:cs typeface="Calibri"/>
                        </a:rPr>
                        <a:t>and</a:t>
                      </a:r>
                      <a:endParaRPr sz="550">
                        <a:latin typeface="Calibri"/>
                        <a:cs typeface="Calibri"/>
                      </a:endParaRPr>
                    </a:p>
                    <a:p>
                      <a:pPr marL="411480">
                        <a:lnSpc>
                          <a:spcPts val="780"/>
                        </a:lnSpc>
                        <a:tabLst>
                          <a:tab pos="1174750" algn="l"/>
                          <a:tab pos="1456690" algn="l"/>
                        </a:tabLst>
                      </a:pPr>
                      <a:r>
                        <a:rPr sz="550" spc="20" dirty="0">
                          <a:latin typeface="Calibri"/>
                          <a:cs typeface="Calibri"/>
                        </a:rPr>
                        <a:t>Enforcement	</a:t>
                      </a:r>
                      <a:r>
                        <a:rPr sz="1050" spc="37" baseline="7936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1050" strike="sngStrike" spc="37" baseline="7936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	</a:t>
                      </a:r>
                      <a:endParaRPr sz="1050" baseline="7936">
                        <a:latin typeface="Calibri"/>
                        <a:cs typeface="Calibri"/>
                      </a:endParaRPr>
                    </a:p>
                  </a:txBody>
                  <a:tcPr marL="0" marR="0" marT="41275" marB="0">
                    <a:lnT w="6350">
                      <a:solidFill>
                        <a:srgbClr val="2C517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550">
                        <a:latin typeface="Times New Roman"/>
                        <a:cs typeface="Times New Roman"/>
                      </a:endParaRPr>
                    </a:p>
                    <a:p>
                      <a:pPr marL="71120">
                        <a:lnSpc>
                          <a:spcPct val="100000"/>
                        </a:lnSpc>
                      </a:pPr>
                      <a:r>
                        <a:rPr sz="700" strike="sngStrike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     </a:t>
                      </a:r>
                      <a:r>
                        <a:rPr sz="700" strike="sngStrike" spc="2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700" strike="sngStrike" spc="25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700" strike="noStrike" spc="25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sz="700">
                        <a:latin typeface="Calibri"/>
                        <a:cs typeface="Calibri"/>
                      </a:endParaRPr>
                    </a:p>
                    <a:p>
                      <a:pPr marL="83185" marR="5715" indent="635" algn="ctr">
                        <a:lnSpc>
                          <a:spcPct val="104500"/>
                        </a:lnSpc>
                        <a:spcBef>
                          <a:spcPts val="340"/>
                        </a:spcBef>
                      </a:pPr>
                      <a:r>
                        <a:rPr sz="550" spc="15" dirty="0">
                          <a:latin typeface="Calibri"/>
                          <a:cs typeface="Calibri"/>
                        </a:rPr>
                        <a:t>Service  </a:t>
                      </a:r>
                      <a:r>
                        <a:rPr sz="550" spc="-10" dirty="0">
                          <a:latin typeface="Calibri"/>
                          <a:cs typeface="Calibri"/>
                        </a:rPr>
                        <a:t>M</a:t>
                      </a:r>
                      <a:r>
                        <a:rPr sz="550" spc="-5" dirty="0">
                          <a:latin typeface="Calibri"/>
                          <a:cs typeface="Calibri"/>
                        </a:rPr>
                        <a:t>od</a:t>
                      </a:r>
                      <a:r>
                        <a:rPr sz="550" spc="-1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550" spc="5" dirty="0">
                          <a:latin typeface="Calibri"/>
                          <a:cs typeface="Calibri"/>
                        </a:rPr>
                        <a:t>f</a:t>
                      </a:r>
                      <a:r>
                        <a:rPr sz="550" spc="-1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550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550" spc="-1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550" spc="-15" dirty="0">
                          <a:latin typeface="Calibri"/>
                          <a:cs typeface="Calibri"/>
                        </a:rPr>
                        <a:t>ti</a:t>
                      </a:r>
                      <a:r>
                        <a:rPr sz="550" spc="-5" dirty="0">
                          <a:latin typeface="Calibri"/>
                          <a:cs typeface="Calibri"/>
                        </a:rPr>
                        <a:t>on 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for Partner  </a:t>
                      </a:r>
                      <a:r>
                        <a:rPr sz="550" spc="15" dirty="0">
                          <a:latin typeface="Calibri"/>
                          <a:cs typeface="Calibri"/>
                        </a:rPr>
                        <a:t>Service</a:t>
                      </a:r>
                      <a:endParaRPr sz="55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6350">
                      <a:solidFill>
                        <a:srgbClr val="2C5170"/>
                      </a:solidFill>
                      <a:prstDash val="solid"/>
                    </a:lnT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750" dirty="0">
                        <a:latin typeface="Times New Roman"/>
                        <a:cs typeface="Times New Roman"/>
                      </a:endParaRPr>
                    </a:p>
                    <a:p>
                      <a:pPr marL="13335">
                        <a:lnSpc>
                          <a:spcPct val="100000"/>
                        </a:lnSpc>
                        <a:tabLst>
                          <a:tab pos="198755" algn="l"/>
                        </a:tabLst>
                      </a:pPr>
                      <a:r>
                        <a:rPr sz="700" strike="sngStrike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 	</a:t>
                      </a:r>
                      <a:r>
                        <a:rPr sz="700" strike="sngStrike" spc="2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700" strike="noStrike" spc="20" dirty="0">
                          <a:solidFill>
                            <a:srgbClr val="FDFFFF"/>
                          </a:solidFill>
                          <a:latin typeface="Calibri"/>
                          <a:cs typeface="Calibri"/>
                        </a:rPr>
                        <a:t>1</a:t>
                      </a:r>
                      <a:endParaRPr sz="700" dirty="0">
                        <a:latin typeface="Calibri"/>
                        <a:cs typeface="Calibri"/>
                      </a:endParaRPr>
                    </a:p>
                    <a:p>
                      <a:pPr marL="95250" marR="13335" indent="-635" algn="ctr">
                        <a:lnSpc>
                          <a:spcPct val="104500"/>
                        </a:lnSpc>
                        <a:spcBef>
                          <a:spcPts val="385"/>
                        </a:spcBef>
                      </a:pPr>
                      <a:r>
                        <a:rPr sz="550" spc="15" dirty="0">
                          <a:latin typeface="Calibri"/>
                          <a:cs typeface="Calibri"/>
                        </a:rPr>
                        <a:t>Service  Configuration 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Request </a:t>
                      </a:r>
                      <a:r>
                        <a:rPr sz="550" spc="25" dirty="0">
                          <a:latin typeface="Calibri"/>
                          <a:cs typeface="Calibri"/>
                        </a:rPr>
                        <a:t>TMF  640</a:t>
                      </a:r>
                      <a:r>
                        <a:rPr sz="5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for</a:t>
                      </a:r>
                      <a:r>
                        <a:rPr sz="55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550" spc="20" dirty="0">
                          <a:latin typeface="Calibri"/>
                          <a:cs typeface="Calibri"/>
                        </a:rPr>
                        <a:t>Partner</a:t>
                      </a:r>
                      <a:endParaRPr sz="55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28575">
                      <a:solidFill>
                        <a:srgbClr val="5B9BD4"/>
                      </a:solidFill>
                      <a:prstDash val="solid"/>
                    </a:lnR>
                    <a:lnB w="28575">
                      <a:solidFill>
                        <a:srgbClr val="5B9BD4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76" name="object 76"/>
          <p:cNvSpPr/>
          <p:nvPr/>
        </p:nvSpPr>
        <p:spPr>
          <a:xfrm>
            <a:off x="1216522" y="3170882"/>
            <a:ext cx="489844" cy="44072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1486239" y="3639156"/>
            <a:ext cx="0" cy="270510"/>
          </a:xfrm>
          <a:custGeom>
            <a:avLst/>
            <a:gdLst/>
            <a:ahLst/>
            <a:cxnLst/>
            <a:rect l="l" t="t" r="r" b="b"/>
            <a:pathLst>
              <a:path h="270510">
                <a:moveTo>
                  <a:pt x="0" y="0"/>
                </a:moveTo>
                <a:lnTo>
                  <a:pt x="0" y="270221"/>
                </a:lnTo>
              </a:path>
            </a:pathLst>
          </a:custGeom>
          <a:ln w="5418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467164" y="3904790"/>
            <a:ext cx="38735" cy="36830"/>
          </a:xfrm>
          <a:custGeom>
            <a:avLst/>
            <a:gdLst/>
            <a:ahLst/>
            <a:cxnLst/>
            <a:rect l="l" t="t" r="r" b="b"/>
            <a:pathLst>
              <a:path w="38734" h="36829">
                <a:moveTo>
                  <a:pt x="38148" y="0"/>
                </a:moveTo>
                <a:lnTo>
                  <a:pt x="0" y="0"/>
                </a:lnTo>
                <a:lnTo>
                  <a:pt x="19074" y="36696"/>
                </a:lnTo>
                <a:lnTo>
                  <a:pt x="38148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1700283" y="3514053"/>
            <a:ext cx="639445" cy="510540"/>
          </a:xfrm>
          <a:custGeom>
            <a:avLst/>
            <a:gdLst/>
            <a:ahLst/>
            <a:cxnLst/>
            <a:rect l="l" t="t" r="r" b="b"/>
            <a:pathLst>
              <a:path w="639444" h="510539">
                <a:moveTo>
                  <a:pt x="0" y="0"/>
                </a:moveTo>
                <a:lnTo>
                  <a:pt x="639423" y="0"/>
                </a:lnTo>
                <a:lnTo>
                  <a:pt x="639423" y="510001"/>
                </a:lnTo>
              </a:path>
            </a:pathLst>
          </a:custGeom>
          <a:ln w="529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2320632" y="4019467"/>
            <a:ext cx="38735" cy="36830"/>
          </a:xfrm>
          <a:custGeom>
            <a:avLst/>
            <a:gdLst/>
            <a:ahLst/>
            <a:cxnLst/>
            <a:rect l="l" t="t" r="r" b="b"/>
            <a:pathLst>
              <a:path w="38735" h="36829">
                <a:moveTo>
                  <a:pt x="38148" y="0"/>
                </a:moveTo>
                <a:lnTo>
                  <a:pt x="0" y="0"/>
                </a:lnTo>
                <a:lnTo>
                  <a:pt x="19074" y="36696"/>
                </a:lnTo>
                <a:lnTo>
                  <a:pt x="38148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1724668" y="3514053"/>
            <a:ext cx="249554" cy="499745"/>
          </a:xfrm>
          <a:custGeom>
            <a:avLst/>
            <a:gdLst/>
            <a:ahLst/>
            <a:cxnLst/>
            <a:rect l="l" t="t" r="r" b="b"/>
            <a:pathLst>
              <a:path w="249555" h="499745">
                <a:moveTo>
                  <a:pt x="0" y="0"/>
                </a:moveTo>
                <a:lnTo>
                  <a:pt x="249266" y="0"/>
                </a:lnTo>
                <a:lnTo>
                  <a:pt x="249266" y="499576"/>
                </a:lnTo>
              </a:path>
            </a:pathLst>
          </a:custGeom>
          <a:ln w="5377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954860" y="4009042"/>
            <a:ext cx="38735" cy="36830"/>
          </a:xfrm>
          <a:custGeom>
            <a:avLst/>
            <a:gdLst/>
            <a:ahLst/>
            <a:cxnLst/>
            <a:rect l="l" t="t" r="r" b="b"/>
            <a:pathLst>
              <a:path w="38735" h="36829">
                <a:moveTo>
                  <a:pt x="38148" y="0"/>
                </a:moveTo>
                <a:lnTo>
                  <a:pt x="0" y="0"/>
                </a:lnTo>
                <a:lnTo>
                  <a:pt x="19074" y="36696"/>
                </a:lnTo>
                <a:lnTo>
                  <a:pt x="38148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726931" y="2158776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765946" y="2158776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417833" y="2158776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456849" y="2158776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194726" y="2589493"/>
            <a:ext cx="1609396" cy="23456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16889" y="2604454"/>
            <a:ext cx="1560626" cy="187653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5046419" y="2158776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161745" y="3143958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95078" y="526473"/>
                </a:moveTo>
                <a:lnTo>
                  <a:pt x="0" y="526473"/>
                </a:lnTo>
                <a:lnTo>
                  <a:pt x="97539" y="620300"/>
                </a:lnTo>
                <a:lnTo>
                  <a:pt x="195078" y="526473"/>
                </a:lnTo>
                <a:close/>
              </a:path>
              <a:path w="195579" h="620395">
                <a:moveTo>
                  <a:pt x="156062" y="0"/>
                </a:moveTo>
                <a:lnTo>
                  <a:pt x="39015" y="0"/>
                </a:lnTo>
                <a:lnTo>
                  <a:pt x="39015" y="526473"/>
                </a:lnTo>
                <a:lnTo>
                  <a:pt x="156062" y="526473"/>
                </a:lnTo>
                <a:lnTo>
                  <a:pt x="156062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3508334" y="5756167"/>
            <a:ext cx="1028225" cy="36357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534561" y="5771090"/>
            <a:ext cx="975391" cy="31275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en-IE" dirty="0" smtClean="0">
                <a:solidFill>
                  <a:schemeClr val="bg1"/>
                </a:solidFill>
              </a:rPr>
              <a:t>Policy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3534561" y="5771090"/>
            <a:ext cx="975994" cy="313055"/>
          </a:xfrm>
          <a:custGeom>
            <a:avLst/>
            <a:gdLst/>
            <a:ahLst/>
            <a:cxnLst/>
            <a:rect l="l" t="t" r="r" b="b"/>
            <a:pathLst>
              <a:path w="975995" h="313054">
                <a:moveTo>
                  <a:pt x="0" y="312756"/>
                </a:moveTo>
                <a:lnTo>
                  <a:pt x="975391" y="312756"/>
                </a:lnTo>
                <a:lnTo>
                  <a:pt x="975391" y="0"/>
                </a:lnTo>
                <a:lnTo>
                  <a:pt x="0" y="0"/>
                </a:lnTo>
                <a:lnTo>
                  <a:pt x="0" y="312756"/>
                </a:lnTo>
                <a:close/>
              </a:path>
            </a:pathLst>
          </a:custGeom>
          <a:ln w="3927">
            <a:solidFill>
              <a:srgbClr val="2C51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556880" y="4700599"/>
            <a:ext cx="1832923" cy="36357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583108" y="4715559"/>
            <a:ext cx="1780090" cy="31275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r>
              <a:rPr lang="en-IE" dirty="0" smtClean="0">
                <a:solidFill>
                  <a:schemeClr val="bg1"/>
                </a:solidFill>
              </a:rPr>
              <a:t>SO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583108" y="4715559"/>
            <a:ext cx="1780539" cy="313055"/>
          </a:xfrm>
          <a:custGeom>
            <a:avLst/>
            <a:gdLst/>
            <a:ahLst/>
            <a:cxnLst/>
            <a:rect l="l" t="t" r="r" b="b"/>
            <a:pathLst>
              <a:path w="1780539" h="313054">
                <a:moveTo>
                  <a:pt x="0" y="312756"/>
                </a:moveTo>
                <a:lnTo>
                  <a:pt x="1780090" y="312756"/>
                </a:lnTo>
                <a:lnTo>
                  <a:pt x="1780090" y="0"/>
                </a:lnTo>
                <a:lnTo>
                  <a:pt x="0" y="0"/>
                </a:lnTo>
                <a:lnTo>
                  <a:pt x="0" y="312756"/>
                </a:lnTo>
                <a:close/>
              </a:path>
            </a:pathLst>
          </a:custGeom>
          <a:ln w="3917">
            <a:solidFill>
              <a:srgbClr val="2C51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274457" y="5020496"/>
            <a:ext cx="260104" cy="90697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274457" y="5020496"/>
            <a:ext cx="260350" cy="907415"/>
          </a:xfrm>
          <a:custGeom>
            <a:avLst/>
            <a:gdLst/>
            <a:ahLst/>
            <a:cxnLst/>
            <a:rect l="l" t="t" r="r" b="b"/>
            <a:pathLst>
              <a:path w="260350" h="907414">
                <a:moveTo>
                  <a:pt x="0" y="0"/>
                </a:moveTo>
                <a:lnTo>
                  <a:pt x="0" y="869462"/>
                </a:lnTo>
                <a:lnTo>
                  <a:pt x="182073" y="869462"/>
                </a:lnTo>
                <a:lnTo>
                  <a:pt x="182073" y="906972"/>
                </a:lnTo>
                <a:lnTo>
                  <a:pt x="260104" y="831931"/>
                </a:lnTo>
                <a:lnTo>
                  <a:pt x="182073" y="756870"/>
                </a:lnTo>
                <a:lnTo>
                  <a:pt x="182073" y="794401"/>
                </a:lnTo>
                <a:lnTo>
                  <a:pt x="78031" y="794401"/>
                </a:lnTo>
                <a:lnTo>
                  <a:pt x="78031" y="0"/>
                </a:lnTo>
                <a:lnTo>
                  <a:pt x="0" y="0"/>
                </a:lnTo>
                <a:close/>
              </a:path>
            </a:pathLst>
          </a:custGeom>
          <a:ln w="4056">
            <a:solidFill>
              <a:srgbClr val="D16C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827071" y="4809594"/>
            <a:ext cx="756037" cy="12505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827071" y="4809594"/>
            <a:ext cx="756285" cy="125095"/>
          </a:xfrm>
          <a:custGeom>
            <a:avLst/>
            <a:gdLst/>
            <a:ahLst/>
            <a:cxnLst/>
            <a:rect l="l" t="t" r="r" b="b"/>
            <a:pathLst>
              <a:path w="756285" h="125095">
                <a:moveTo>
                  <a:pt x="756037" y="62342"/>
                </a:moveTo>
                <a:lnTo>
                  <a:pt x="691227" y="125050"/>
                </a:lnTo>
                <a:lnTo>
                  <a:pt x="691119" y="93826"/>
                </a:lnTo>
                <a:lnTo>
                  <a:pt x="216" y="96172"/>
                </a:lnTo>
                <a:lnTo>
                  <a:pt x="0" y="33673"/>
                </a:lnTo>
                <a:lnTo>
                  <a:pt x="690902" y="31275"/>
                </a:lnTo>
                <a:lnTo>
                  <a:pt x="690794" y="0"/>
                </a:lnTo>
                <a:lnTo>
                  <a:pt x="756037" y="62342"/>
                </a:lnTo>
                <a:close/>
              </a:path>
            </a:pathLst>
          </a:custGeom>
          <a:ln w="3917">
            <a:solidFill>
              <a:srgbClr val="D16C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971422" y="5740529"/>
            <a:ext cx="1272073" cy="363579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4997649" y="5755452"/>
            <a:ext cx="1219239" cy="31275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en-IE" dirty="0" smtClean="0">
                <a:solidFill>
                  <a:schemeClr val="bg1"/>
                </a:solidFill>
              </a:rPr>
              <a:t>A&amp;AI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4997649" y="5755452"/>
            <a:ext cx="1219835" cy="313055"/>
          </a:xfrm>
          <a:custGeom>
            <a:avLst/>
            <a:gdLst/>
            <a:ahLst/>
            <a:cxnLst/>
            <a:rect l="l" t="t" r="r" b="b"/>
            <a:pathLst>
              <a:path w="1219835" h="313054">
                <a:moveTo>
                  <a:pt x="0" y="312756"/>
                </a:moveTo>
                <a:lnTo>
                  <a:pt x="1219239" y="312756"/>
                </a:lnTo>
                <a:lnTo>
                  <a:pt x="1219239" y="0"/>
                </a:lnTo>
                <a:lnTo>
                  <a:pt x="0" y="0"/>
                </a:lnTo>
                <a:lnTo>
                  <a:pt x="0" y="312756"/>
                </a:lnTo>
                <a:close/>
              </a:path>
            </a:pathLst>
          </a:custGeom>
          <a:ln w="3922">
            <a:solidFill>
              <a:srgbClr val="2C51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6194726" y="2800604"/>
            <a:ext cx="1609396" cy="23456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6216889" y="2815564"/>
            <a:ext cx="1560626" cy="18765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194726" y="2988258"/>
            <a:ext cx="1609396" cy="234567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216889" y="3003218"/>
            <a:ext cx="1560830" cy="187960"/>
          </a:xfrm>
          <a:custGeom>
            <a:avLst/>
            <a:gdLst/>
            <a:ahLst/>
            <a:cxnLst/>
            <a:rect l="l" t="t" r="r" b="b"/>
            <a:pathLst>
              <a:path w="1560829" h="187960">
                <a:moveTo>
                  <a:pt x="97539" y="0"/>
                </a:moveTo>
                <a:lnTo>
                  <a:pt x="0" y="93826"/>
                </a:lnTo>
                <a:lnTo>
                  <a:pt x="97539" y="187653"/>
                </a:lnTo>
                <a:lnTo>
                  <a:pt x="97539" y="140740"/>
                </a:lnTo>
                <a:lnTo>
                  <a:pt x="1560626" y="140740"/>
                </a:lnTo>
                <a:lnTo>
                  <a:pt x="1560626" y="46913"/>
                </a:lnTo>
                <a:lnTo>
                  <a:pt x="97539" y="46913"/>
                </a:lnTo>
                <a:lnTo>
                  <a:pt x="97539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2849945" y="4778788"/>
            <a:ext cx="678710" cy="207201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2873462" y="4809385"/>
            <a:ext cx="628650" cy="140970"/>
          </a:xfrm>
          <a:custGeom>
            <a:avLst/>
            <a:gdLst/>
            <a:ahLst/>
            <a:cxnLst/>
            <a:rect l="l" t="t" r="r" b="b"/>
            <a:pathLst>
              <a:path w="628650" h="140970">
                <a:moveTo>
                  <a:pt x="628585" y="0"/>
                </a:moveTo>
                <a:lnTo>
                  <a:pt x="0" y="0"/>
                </a:lnTo>
                <a:lnTo>
                  <a:pt x="0" y="125102"/>
                </a:lnTo>
                <a:lnTo>
                  <a:pt x="42913" y="132979"/>
                </a:lnTo>
                <a:lnTo>
                  <a:pt x="92059" y="136146"/>
                </a:lnTo>
                <a:lnTo>
                  <a:pt x="155669" y="138597"/>
                </a:lnTo>
                <a:lnTo>
                  <a:pt x="230746" y="140179"/>
                </a:lnTo>
                <a:lnTo>
                  <a:pt x="314292" y="140740"/>
                </a:lnTo>
                <a:lnTo>
                  <a:pt x="397839" y="140179"/>
                </a:lnTo>
                <a:lnTo>
                  <a:pt x="472916" y="138597"/>
                </a:lnTo>
                <a:lnTo>
                  <a:pt x="536526" y="136146"/>
                </a:lnTo>
                <a:lnTo>
                  <a:pt x="585672" y="132979"/>
                </a:lnTo>
                <a:lnTo>
                  <a:pt x="628585" y="125102"/>
                </a:lnTo>
                <a:lnTo>
                  <a:pt x="628585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2873462" y="4809385"/>
            <a:ext cx="628650" cy="140970"/>
          </a:xfrm>
          <a:custGeom>
            <a:avLst/>
            <a:gdLst/>
            <a:ahLst/>
            <a:cxnLst/>
            <a:rect l="l" t="t" r="r" b="b"/>
            <a:pathLst>
              <a:path w="628650" h="140970">
                <a:moveTo>
                  <a:pt x="0" y="125102"/>
                </a:moveTo>
                <a:lnTo>
                  <a:pt x="42913" y="132979"/>
                </a:lnTo>
                <a:lnTo>
                  <a:pt x="92059" y="136146"/>
                </a:lnTo>
                <a:lnTo>
                  <a:pt x="155669" y="138597"/>
                </a:lnTo>
                <a:lnTo>
                  <a:pt x="230746" y="140179"/>
                </a:lnTo>
                <a:lnTo>
                  <a:pt x="314292" y="140740"/>
                </a:lnTo>
                <a:lnTo>
                  <a:pt x="397839" y="140179"/>
                </a:lnTo>
                <a:lnTo>
                  <a:pt x="472916" y="138597"/>
                </a:lnTo>
                <a:lnTo>
                  <a:pt x="536526" y="136146"/>
                </a:lnTo>
                <a:lnTo>
                  <a:pt x="585672" y="132979"/>
                </a:lnTo>
                <a:lnTo>
                  <a:pt x="628585" y="125102"/>
                </a:lnTo>
                <a:lnTo>
                  <a:pt x="628585" y="0"/>
                </a:lnTo>
                <a:lnTo>
                  <a:pt x="0" y="0"/>
                </a:lnTo>
                <a:lnTo>
                  <a:pt x="0" y="125102"/>
                </a:lnTo>
                <a:close/>
              </a:path>
            </a:pathLst>
          </a:custGeom>
          <a:ln w="3920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2873462" y="4809385"/>
            <a:ext cx="628650" cy="0"/>
          </a:xfrm>
          <a:custGeom>
            <a:avLst/>
            <a:gdLst/>
            <a:ahLst/>
            <a:cxnLst/>
            <a:rect l="l" t="t" r="r" b="b"/>
            <a:pathLst>
              <a:path w="628650">
                <a:moveTo>
                  <a:pt x="0" y="0"/>
                </a:moveTo>
                <a:lnTo>
                  <a:pt x="628585" y="0"/>
                </a:lnTo>
              </a:path>
            </a:pathLst>
          </a:custGeom>
          <a:ln w="31275">
            <a:solidFill>
              <a:srgbClr val="FD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2873462" y="4793748"/>
            <a:ext cx="628650" cy="31750"/>
          </a:xfrm>
          <a:custGeom>
            <a:avLst/>
            <a:gdLst/>
            <a:ahLst/>
            <a:cxnLst/>
            <a:rect l="l" t="t" r="r" b="b"/>
            <a:pathLst>
              <a:path w="628650" h="31750">
                <a:moveTo>
                  <a:pt x="0" y="15637"/>
                </a:moveTo>
                <a:lnTo>
                  <a:pt x="42913" y="7737"/>
                </a:lnTo>
                <a:lnTo>
                  <a:pt x="92059" y="4574"/>
                </a:lnTo>
                <a:lnTo>
                  <a:pt x="155669" y="2131"/>
                </a:lnTo>
                <a:lnTo>
                  <a:pt x="230746" y="557"/>
                </a:lnTo>
                <a:lnTo>
                  <a:pt x="314292" y="0"/>
                </a:lnTo>
                <a:lnTo>
                  <a:pt x="397839" y="557"/>
                </a:lnTo>
                <a:lnTo>
                  <a:pt x="472916" y="2131"/>
                </a:lnTo>
                <a:lnTo>
                  <a:pt x="536526" y="4574"/>
                </a:lnTo>
                <a:lnTo>
                  <a:pt x="585672" y="7737"/>
                </a:lnTo>
                <a:lnTo>
                  <a:pt x="628585" y="15637"/>
                </a:lnTo>
                <a:lnTo>
                  <a:pt x="617358" y="19782"/>
                </a:lnTo>
                <a:lnTo>
                  <a:pt x="536526" y="26682"/>
                </a:lnTo>
                <a:lnTo>
                  <a:pt x="472916" y="29132"/>
                </a:lnTo>
                <a:lnTo>
                  <a:pt x="397839" y="30714"/>
                </a:lnTo>
                <a:lnTo>
                  <a:pt x="314292" y="31275"/>
                </a:lnTo>
                <a:lnTo>
                  <a:pt x="230746" y="30714"/>
                </a:lnTo>
                <a:lnTo>
                  <a:pt x="155669" y="29132"/>
                </a:lnTo>
                <a:lnTo>
                  <a:pt x="92059" y="26682"/>
                </a:lnTo>
                <a:lnTo>
                  <a:pt x="42913" y="23514"/>
                </a:lnTo>
                <a:lnTo>
                  <a:pt x="0" y="15637"/>
                </a:lnTo>
                <a:close/>
              </a:path>
            </a:pathLst>
          </a:custGeom>
          <a:ln w="3913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1435627" y="2726324"/>
            <a:ext cx="959135" cy="430039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1459144" y="2745194"/>
            <a:ext cx="905510" cy="375920"/>
          </a:xfrm>
          <a:custGeom>
            <a:avLst/>
            <a:gdLst/>
            <a:ahLst/>
            <a:cxnLst/>
            <a:rect l="l" t="t" r="r" b="b"/>
            <a:pathLst>
              <a:path w="905510" h="375919">
                <a:moveTo>
                  <a:pt x="0" y="375307"/>
                </a:moveTo>
                <a:lnTo>
                  <a:pt x="78031" y="375307"/>
                </a:lnTo>
                <a:lnTo>
                  <a:pt x="82412" y="328092"/>
                </a:lnTo>
                <a:lnTo>
                  <a:pt x="95078" y="283654"/>
                </a:lnTo>
                <a:lnTo>
                  <a:pt x="115258" y="242733"/>
                </a:lnTo>
                <a:lnTo>
                  <a:pt x="142182" y="206071"/>
                </a:lnTo>
                <a:lnTo>
                  <a:pt x="175078" y="174409"/>
                </a:lnTo>
                <a:lnTo>
                  <a:pt x="213177" y="148489"/>
                </a:lnTo>
                <a:lnTo>
                  <a:pt x="255707" y="129052"/>
                </a:lnTo>
                <a:lnTo>
                  <a:pt x="301897" y="116839"/>
                </a:lnTo>
                <a:lnTo>
                  <a:pt x="350978" y="112592"/>
                </a:lnTo>
                <a:lnTo>
                  <a:pt x="351141" y="112592"/>
                </a:lnTo>
                <a:lnTo>
                  <a:pt x="826915" y="112592"/>
                </a:lnTo>
                <a:lnTo>
                  <a:pt x="826915" y="150123"/>
                </a:lnTo>
                <a:lnTo>
                  <a:pt x="904946" y="75061"/>
                </a:lnTo>
                <a:lnTo>
                  <a:pt x="826915" y="0"/>
                </a:lnTo>
                <a:lnTo>
                  <a:pt x="826915" y="37530"/>
                </a:lnTo>
                <a:lnTo>
                  <a:pt x="351141" y="37530"/>
                </a:lnTo>
                <a:lnTo>
                  <a:pt x="303514" y="40600"/>
                </a:lnTo>
                <a:lnTo>
                  <a:pt x="257831" y="49565"/>
                </a:lnTo>
                <a:lnTo>
                  <a:pt x="214510" y="64026"/>
                </a:lnTo>
                <a:lnTo>
                  <a:pt x="173968" y="83579"/>
                </a:lnTo>
                <a:lnTo>
                  <a:pt x="136627" y="107822"/>
                </a:lnTo>
                <a:lnTo>
                  <a:pt x="102903" y="136355"/>
                </a:lnTo>
                <a:lnTo>
                  <a:pt x="73217" y="168774"/>
                </a:lnTo>
                <a:lnTo>
                  <a:pt x="47986" y="204677"/>
                </a:lnTo>
                <a:lnTo>
                  <a:pt x="27631" y="243664"/>
                </a:lnTo>
                <a:lnTo>
                  <a:pt x="12568" y="285331"/>
                </a:lnTo>
                <a:lnTo>
                  <a:pt x="3218" y="329276"/>
                </a:lnTo>
                <a:lnTo>
                  <a:pt x="0" y="375099"/>
                </a:lnTo>
                <a:lnTo>
                  <a:pt x="0" y="375307"/>
                </a:lnTo>
                <a:close/>
              </a:path>
            </a:pathLst>
          </a:custGeom>
          <a:ln w="3936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2364091" y="2346430"/>
            <a:ext cx="247650" cy="0"/>
          </a:xfrm>
          <a:custGeom>
            <a:avLst/>
            <a:gdLst/>
            <a:ahLst/>
            <a:cxnLst/>
            <a:rect l="l" t="t" r="r" b="b"/>
            <a:pathLst>
              <a:path w="247650">
                <a:moveTo>
                  <a:pt x="247641" y="0"/>
                </a:moveTo>
                <a:lnTo>
                  <a:pt x="0" y="0"/>
                </a:lnTo>
              </a:path>
            </a:pathLst>
          </a:custGeom>
          <a:ln w="3913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2240325" y="2237643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2266552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2266552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2821496" y="2237643"/>
            <a:ext cx="247912" cy="23847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2847994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2847994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3488014" y="2237643"/>
            <a:ext cx="247912" cy="23847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3514512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3514512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630382" y="1227883"/>
            <a:ext cx="489844" cy="44072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2731078" y="1221368"/>
            <a:ext cx="489844" cy="44072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2386634" y="1698138"/>
            <a:ext cx="1178598" cy="203291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2412861" y="1716747"/>
            <a:ext cx="1122045" cy="150495"/>
          </a:xfrm>
          <a:custGeom>
            <a:avLst/>
            <a:gdLst/>
            <a:ahLst/>
            <a:cxnLst/>
            <a:rect l="l" t="t" r="r" b="b"/>
            <a:pathLst>
              <a:path w="1122045" h="150494">
                <a:moveTo>
                  <a:pt x="0" y="150123"/>
                </a:moveTo>
                <a:lnTo>
                  <a:pt x="22906" y="123382"/>
                </a:lnTo>
                <a:lnTo>
                  <a:pt x="49704" y="101645"/>
                </a:lnTo>
                <a:lnTo>
                  <a:pt x="79692" y="85382"/>
                </a:lnTo>
                <a:lnTo>
                  <a:pt x="112170" y="75061"/>
                </a:lnTo>
                <a:lnTo>
                  <a:pt x="560850" y="75061"/>
                </a:lnTo>
                <a:lnTo>
                  <a:pt x="560850" y="0"/>
                </a:lnTo>
                <a:lnTo>
                  <a:pt x="560850" y="75061"/>
                </a:lnTo>
                <a:lnTo>
                  <a:pt x="1009530" y="75061"/>
                </a:lnTo>
                <a:lnTo>
                  <a:pt x="1042008" y="85382"/>
                </a:lnTo>
                <a:lnTo>
                  <a:pt x="1071996" y="101645"/>
                </a:lnTo>
                <a:lnTo>
                  <a:pt x="1098794" y="123382"/>
                </a:lnTo>
                <a:lnTo>
                  <a:pt x="1121700" y="150123"/>
                </a:lnTo>
              </a:path>
            </a:pathLst>
          </a:custGeom>
          <a:ln w="3916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605874" y="1713776"/>
            <a:ext cx="2690455" cy="203291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3632101" y="1729778"/>
            <a:ext cx="2633980" cy="150495"/>
          </a:xfrm>
          <a:custGeom>
            <a:avLst/>
            <a:gdLst/>
            <a:ahLst/>
            <a:cxnLst/>
            <a:rect l="l" t="t" r="r" b="b"/>
            <a:pathLst>
              <a:path w="2633979" h="150494">
                <a:moveTo>
                  <a:pt x="0" y="150123"/>
                </a:moveTo>
                <a:lnTo>
                  <a:pt x="42251" y="128345"/>
                </a:lnTo>
                <a:lnTo>
                  <a:pt x="90547" y="109709"/>
                </a:lnTo>
                <a:lnTo>
                  <a:pt x="144053" y="94457"/>
                </a:lnTo>
                <a:lnTo>
                  <a:pt x="201934" y="82827"/>
                </a:lnTo>
                <a:lnTo>
                  <a:pt x="263355" y="75061"/>
                </a:lnTo>
                <a:lnTo>
                  <a:pt x="1316778" y="75061"/>
                </a:lnTo>
                <a:lnTo>
                  <a:pt x="1316778" y="0"/>
                </a:lnTo>
                <a:lnTo>
                  <a:pt x="1316778" y="75061"/>
                </a:lnTo>
                <a:lnTo>
                  <a:pt x="2370202" y="75061"/>
                </a:lnTo>
                <a:lnTo>
                  <a:pt x="2431623" y="82827"/>
                </a:lnTo>
                <a:lnTo>
                  <a:pt x="2489504" y="94457"/>
                </a:lnTo>
                <a:lnTo>
                  <a:pt x="2543010" y="109709"/>
                </a:lnTo>
                <a:lnTo>
                  <a:pt x="2591306" y="128345"/>
                </a:lnTo>
                <a:lnTo>
                  <a:pt x="2633557" y="150123"/>
                </a:lnTo>
              </a:path>
            </a:pathLst>
          </a:custGeom>
          <a:ln w="3913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5875502" y="2174413"/>
            <a:ext cx="195580" cy="454025"/>
          </a:xfrm>
          <a:custGeom>
            <a:avLst/>
            <a:gdLst/>
            <a:ahLst/>
            <a:cxnLst/>
            <a:rect l="l" t="t" r="r" b="b"/>
            <a:pathLst>
              <a:path w="195579" h="454025">
                <a:moveTo>
                  <a:pt x="156062" y="0"/>
                </a:moveTo>
                <a:lnTo>
                  <a:pt x="156062" y="359669"/>
                </a:lnTo>
                <a:lnTo>
                  <a:pt x="195078" y="359669"/>
                </a:lnTo>
                <a:lnTo>
                  <a:pt x="97539" y="453496"/>
                </a:lnTo>
                <a:lnTo>
                  <a:pt x="0" y="359669"/>
                </a:lnTo>
                <a:lnTo>
                  <a:pt x="39015" y="359669"/>
                </a:lnTo>
                <a:lnTo>
                  <a:pt x="39015" y="0"/>
                </a:lnTo>
              </a:path>
            </a:pathLst>
          </a:custGeom>
          <a:ln w="5386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1094239" y="2777147"/>
            <a:ext cx="247912" cy="238476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1117485" y="2790320"/>
            <a:ext cx="199069" cy="191644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2071474" y="3224128"/>
            <a:ext cx="0" cy="290195"/>
          </a:xfrm>
          <a:custGeom>
            <a:avLst/>
            <a:gdLst/>
            <a:ahLst/>
            <a:cxnLst/>
            <a:rect l="l" t="t" r="r" b="b"/>
            <a:pathLst>
              <a:path h="290195">
                <a:moveTo>
                  <a:pt x="0" y="289925"/>
                </a:moveTo>
                <a:lnTo>
                  <a:pt x="0" y="0"/>
                </a:lnTo>
              </a:path>
            </a:pathLst>
          </a:custGeom>
          <a:ln w="4068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1947707" y="3113360"/>
            <a:ext cx="247912" cy="238476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1971939" y="3128306"/>
            <a:ext cx="199069" cy="19164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4178916" y="2237643"/>
            <a:ext cx="247912" cy="23847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4205414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4205414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629588" y="2456572"/>
            <a:ext cx="56897" cy="230657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6532049" y="2362745"/>
            <a:ext cx="247912" cy="288621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6558276" y="2379686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6558276" y="2379686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4808857" y="2237643"/>
            <a:ext cx="247912" cy="238476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4834000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4834000" y="225260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2923099" y="3316652"/>
            <a:ext cx="247912" cy="23847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2949326" y="3330100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97539" y="0"/>
                </a:moveTo>
                <a:lnTo>
                  <a:pt x="59575" y="7366"/>
                </a:lnTo>
                <a:lnTo>
                  <a:pt x="28570" y="27463"/>
                </a:lnTo>
                <a:lnTo>
                  <a:pt x="7665" y="57285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285"/>
                </a:lnTo>
                <a:lnTo>
                  <a:pt x="166507" y="27463"/>
                </a:lnTo>
                <a:lnTo>
                  <a:pt x="135503" y="7366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2949326" y="3330100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80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285"/>
                </a:lnTo>
                <a:lnTo>
                  <a:pt x="166507" y="27463"/>
                </a:lnTo>
                <a:lnTo>
                  <a:pt x="135503" y="7366"/>
                </a:lnTo>
                <a:lnTo>
                  <a:pt x="97539" y="0"/>
                </a:lnTo>
                <a:lnTo>
                  <a:pt x="59575" y="7366"/>
                </a:lnTo>
                <a:lnTo>
                  <a:pt x="28570" y="27463"/>
                </a:lnTo>
                <a:lnTo>
                  <a:pt x="7665" y="57285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6824667" y="2237643"/>
            <a:ext cx="56897" cy="660697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6850894" y="2252603"/>
            <a:ext cx="0" cy="610235"/>
          </a:xfrm>
          <a:custGeom>
            <a:avLst/>
            <a:gdLst/>
            <a:ahLst/>
            <a:cxnLst/>
            <a:rect l="l" t="t" r="r" b="b"/>
            <a:pathLst>
              <a:path h="610235">
                <a:moveTo>
                  <a:pt x="0" y="609874"/>
                </a:moveTo>
                <a:lnTo>
                  <a:pt x="0" y="0"/>
                </a:lnTo>
              </a:path>
            </a:pathLst>
          </a:custGeom>
          <a:ln w="406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6727128" y="2143816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6751359" y="2156780"/>
            <a:ext cx="199069" cy="191644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7094742" y="2116397"/>
            <a:ext cx="1905" cy="934085"/>
          </a:xfrm>
          <a:custGeom>
            <a:avLst/>
            <a:gdLst/>
            <a:ahLst/>
            <a:cxnLst/>
            <a:rect l="l" t="t" r="r" b="b"/>
            <a:pathLst>
              <a:path w="1904" h="934085">
                <a:moveTo>
                  <a:pt x="0" y="933734"/>
                </a:moveTo>
                <a:lnTo>
                  <a:pt x="1571" y="0"/>
                </a:lnTo>
              </a:path>
            </a:pathLst>
          </a:custGeom>
          <a:ln w="406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6975040" y="2006985"/>
            <a:ext cx="247912" cy="238476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996779" y="2020575"/>
            <a:ext cx="199069" cy="191644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4897671" y="3162202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95078" y="526473"/>
                </a:moveTo>
                <a:lnTo>
                  <a:pt x="0" y="526473"/>
                </a:lnTo>
                <a:lnTo>
                  <a:pt x="97539" y="620300"/>
                </a:lnTo>
                <a:lnTo>
                  <a:pt x="195078" y="526473"/>
                </a:lnTo>
                <a:close/>
              </a:path>
              <a:path w="195579" h="620395">
                <a:moveTo>
                  <a:pt x="156062" y="0"/>
                </a:moveTo>
                <a:lnTo>
                  <a:pt x="39015" y="0"/>
                </a:lnTo>
                <a:lnTo>
                  <a:pt x="39015" y="526473"/>
                </a:lnTo>
                <a:lnTo>
                  <a:pt x="156062" y="526473"/>
                </a:lnTo>
                <a:lnTo>
                  <a:pt x="156062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5223398" y="3512125"/>
            <a:ext cx="247912" cy="238476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244921" y="3523786"/>
            <a:ext cx="199069" cy="19164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4607493" y="4095259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56062" y="0"/>
                </a:moveTo>
                <a:lnTo>
                  <a:pt x="156062" y="526473"/>
                </a:lnTo>
                <a:lnTo>
                  <a:pt x="195078" y="526473"/>
                </a:lnTo>
                <a:lnTo>
                  <a:pt x="97539" y="620300"/>
                </a:lnTo>
                <a:lnTo>
                  <a:pt x="0" y="526473"/>
                </a:lnTo>
                <a:lnTo>
                  <a:pt x="39015" y="526473"/>
                </a:lnTo>
                <a:lnTo>
                  <a:pt x="39015" y="0"/>
                </a:lnTo>
              </a:path>
            </a:pathLst>
          </a:custGeom>
          <a:ln w="540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4646508" y="4095259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4369930" y="4239283"/>
            <a:ext cx="247912" cy="238476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4395074" y="4256224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4395074" y="4256224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4852533" y="4077015"/>
            <a:ext cx="195580" cy="639445"/>
          </a:xfrm>
          <a:custGeom>
            <a:avLst/>
            <a:gdLst/>
            <a:ahLst/>
            <a:cxnLst/>
            <a:rect l="l" t="t" r="r" b="b"/>
            <a:pathLst>
              <a:path w="195579" h="639445">
                <a:moveTo>
                  <a:pt x="45680" y="639169"/>
                </a:moveTo>
                <a:lnTo>
                  <a:pt x="39015" y="94452"/>
                </a:lnTo>
                <a:lnTo>
                  <a:pt x="0" y="94921"/>
                </a:lnTo>
                <a:lnTo>
                  <a:pt x="96347" y="0"/>
                </a:lnTo>
                <a:lnTo>
                  <a:pt x="195024" y="92680"/>
                </a:lnTo>
                <a:lnTo>
                  <a:pt x="156008" y="93149"/>
                </a:lnTo>
                <a:lnTo>
                  <a:pt x="162727" y="637866"/>
                </a:lnTo>
              </a:path>
            </a:pathLst>
          </a:custGeom>
          <a:ln w="5401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4898213" y="4714881"/>
            <a:ext cx="117475" cy="1905"/>
          </a:xfrm>
          <a:custGeom>
            <a:avLst/>
            <a:gdLst/>
            <a:ahLst/>
            <a:cxnLst/>
            <a:rect l="l" t="t" r="r" b="b"/>
            <a:pathLst>
              <a:path w="117475" h="1904">
                <a:moveTo>
                  <a:pt x="0" y="1303"/>
                </a:moveTo>
                <a:lnTo>
                  <a:pt x="117047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5105538" y="4403480"/>
            <a:ext cx="247912" cy="238476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5129815" y="4420160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5129815" y="4420160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3991207" y="3143958"/>
            <a:ext cx="195580" cy="621030"/>
          </a:xfrm>
          <a:custGeom>
            <a:avLst/>
            <a:gdLst/>
            <a:ahLst/>
            <a:cxnLst/>
            <a:rect l="l" t="t" r="r" b="b"/>
            <a:pathLst>
              <a:path w="195579" h="621029">
                <a:moveTo>
                  <a:pt x="156080" y="94504"/>
                </a:moveTo>
                <a:lnTo>
                  <a:pt x="39015" y="94504"/>
                </a:lnTo>
                <a:lnTo>
                  <a:pt x="45680" y="620977"/>
                </a:lnTo>
                <a:lnTo>
                  <a:pt x="162727" y="619570"/>
                </a:lnTo>
                <a:lnTo>
                  <a:pt x="156080" y="94504"/>
                </a:lnTo>
                <a:close/>
              </a:path>
              <a:path w="195579" h="621029">
                <a:moveTo>
                  <a:pt x="96347" y="0"/>
                </a:moveTo>
                <a:lnTo>
                  <a:pt x="0" y="94921"/>
                </a:lnTo>
                <a:lnTo>
                  <a:pt x="39015" y="94504"/>
                </a:lnTo>
                <a:lnTo>
                  <a:pt x="156080" y="94504"/>
                </a:lnTo>
                <a:lnTo>
                  <a:pt x="156062" y="93097"/>
                </a:lnTo>
                <a:lnTo>
                  <a:pt x="195078" y="92680"/>
                </a:lnTo>
                <a:lnTo>
                  <a:pt x="96347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4321161" y="3492577"/>
            <a:ext cx="247912" cy="23847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4342900" y="3505751"/>
            <a:ext cx="199069" cy="19164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6216889" y="5875259"/>
            <a:ext cx="76200" cy="73660"/>
          </a:xfrm>
          <a:custGeom>
            <a:avLst/>
            <a:gdLst/>
            <a:ahLst/>
            <a:cxnLst/>
            <a:rect l="l" t="t" r="r" b="b"/>
            <a:pathLst>
              <a:path w="76200" h="73660">
                <a:moveTo>
                  <a:pt x="76080" y="0"/>
                </a:moveTo>
                <a:lnTo>
                  <a:pt x="0" y="36571"/>
                </a:lnTo>
                <a:lnTo>
                  <a:pt x="76080" y="73164"/>
                </a:lnTo>
                <a:lnTo>
                  <a:pt x="76080" y="0"/>
                </a:lnTo>
                <a:close/>
              </a:path>
            </a:pathLst>
          </a:custGeom>
          <a:solidFill>
            <a:srgbClr val="5B9B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4776344" y="5427757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4802571" y="5442717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4802571" y="5442717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5095188" y="5028315"/>
            <a:ext cx="195580" cy="727710"/>
          </a:xfrm>
          <a:custGeom>
            <a:avLst/>
            <a:gdLst/>
            <a:ahLst/>
            <a:cxnLst/>
            <a:rect l="l" t="t" r="r" b="b"/>
            <a:pathLst>
              <a:path w="195579" h="727710">
                <a:moveTo>
                  <a:pt x="156062" y="0"/>
                </a:moveTo>
                <a:lnTo>
                  <a:pt x="156062" y="633331"/>
                </a:lnTo>
                <a:lnTo>
                  <a:pt x="195078" y="633331"/>
                </a:lnTo>
                <a:lnTo>
                  <a:pt x="97539" y="727158"/>
                </a:lnTo>
                <a:lnTo>
                  <a:pt x="0" y="633331"/>
                </a:lnTo>
                <a:lnTo>
                  <a:pt x="39015" y="633331"/>
                </a:lnTo>
                <a:lnTo>
                  <a:pt x="39015" y="0"/>
                </a:lnTo>
              </a:path>
            </a:pathLst>
          </a:custGeom>
          <a:ln w="5404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5134204" y="5028315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7031937" y="3973440"/>
            <a:ext cx="247912" cy="238476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7054273" y="3986405"/>
            <a:ext cx="199069" cy="19164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5459118" y="2331469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5483350" y="2344434"/>
            <a:ext cx="199069" cy="191644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5777963" y="3143958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95078" y="526473"/>
                </a:moveTo>
                <a:lnTo>
                  <a:pt x="0" y="526473"/>
                </a:lnTo>
                <a:lnTo>
                  <a:pt x="97539" y="620300"/>
                </a:lnTo>
                <a:lnTo>
                  <a:pt x="195078" y="526473"/>
                </a:lnTo>
                <a:close/>
              </a:path>
              <a:path w="195579" h="620395">
                <a:moveTo>
                  <a:pt x="156062" y="0"/>
                </a:moveTo>
                <a:lnTo>
                  <a:pt x="39015" y="0"/>
                </a:lnTo>
                <a:lnTo>
                  <a:pt x="39015" y="526473"/>
                </a:lnTo>
                <a:lnTo>
                  <a:pt x="156062" y="526473"/>
                </a:lnTo>
                <a:lnTo>
                  <a:pt x="156062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5934025" y="3613093"/>
            <a:ext cx="527050" cy="0"/>
          </a:xfrm>
          <a:custGeom>
            <a:avLst/>
            <a:gdLst/>
            <a:ahLst/>
            <a:cxnLst/>
            <a:rect l="l" t="t" r="r" b="b"/>
            <a:pathLst>
              <a:path w="527050">
                <a:moveTo>
                  <a:pt x="0" y="0"/>
                </a:moveTo>
                <a:lnTo>
                  <a:pt x="526711" y="0"/>
                </a:lnTo>
              </a:path>
            </a:pathLst>
          </a:custGeom>
          <a:ln w="3913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6336970" y="3504306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6361202" y="3517270"/>
            <a:ext cx="199069" cy="191644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5680424" y="4095259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56062" y="0"/>
                </a:moveTo>
                <a:lnTo>
                  <a:pt x="156062" y="526473"/>
                </a:lnTo>
                <a:lnTo>
                  <a:pt x="195078" y="526473"/>
                </a:lnTo>
                <a:lnTo>
                  <a:pt x="97539" y="620300"/>
                </a:lnTo>
                <a:lnTo>
                  <a:pt x="0" y="526473"/>
                </a:lnTo>
                <a:lnTo>
                  <a:pt x="39015" y="526473"/>
                </a:lnTo>
                <a:lnTo>
                  <a:pt x="39015" y="0"/>
                </a:lnTo>
              </a:path>
            </a:pathLst>
          </a:custGeom>
          <a:ln w="540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5719439" y="4095259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6112631" y="4077015"/>
            <a:ext cx="195580" cy="639445"/>
          </a:xfrm>
          <a:custGeom>
            <a:avLst/>
            <a:gdLst/>
            <a:ahLst/>
            <a:cxnLst/>
            <a:rect l="l" t="t" r="r" b="b"/>
            <a:pathLst>
              <a:path w="195579" h="639445">
                <a:moveTo>
                  <a:pt x="45735" y="639169"/>
                </a:moveTo>
                <a:lnTo>
                  <a:pt x="39015" y="94452"/>
                </a:lnTo>
                <a:lnTo>
                  <a:pt x="0" y="94921"/>
                </a:lnTo>
                <a:lnTo>
                  <a:pt x="96401" y="0"/>
                </a:lnTo>
                <a:lnTo>
                  <a:pt x="195078" y="92680"/>
                </a:lnTo>
                <a:lnTo>
                  <a:pt x="156062" y="93149"/>
                </a:lnTo>
                <a:lnTo>
                  <a:pt x="162782" y="637866"/>
                </a:lnTo>
              </a:path>
            </a:pathLst>
          </a:custGeom>
          <a:ln w="5401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6158365" y="4714881"/>
            <a:ext cx="117475" cy="1905"/>
          </a:xfrm>
          <a:custGeom>
            <a:avLst/>
            <a:gdLst/>
            <a:ahLst/>
            <a:cxnLst/>
            <a:rect l="l" t="t" r="r" b="b"/>
            <a:pathLst>
              <a:path w="117475" h="1904">
                <a:moveTo>
                  <a:pt x="0" y="1303"/>
                </a:moveTo>
                <a:lnTo>
                  <a:pt x="117047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5885852" y="4208007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5912079" y="4222967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5912079" y="4222967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6381676" y="4340929"/>
            <a:ext cx="247912" cy="238476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6405140" y="4357296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6405140" y="4357296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C7C7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8287754" y="3750601"/>
            <a:ext cx="3027778" cy="363579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8313981" y="3764258"/>
            <a:ext cx="2974945" cy="312756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en-IE" dirty="0" smtClean="0">
                <a:solidFill>
                  <a:schemeClr val="bg1"/>
                </a:solidFill>
              </a:rPr>
              <a:t>EXT-API (partner)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6336970" y="3734963"/>
            <a:ext cx="2007681" cy="242386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6363198" y="3753833"/>
            <a:ext cx="1951355" cy="187960"/>
          </a:xfrm>
          <a:custGeom>
            <a:avLst/>
            <a:gdLst/>
            <a:ahLst/>
            <a:cxnLst/>
            <a:rect l="l" t="t" r="r" b="b"/>
            <a:pathLst>
              <a:path w="1951354" h="187960">
                <a:moveTo>
                  <a:pt x="1853244" y="0"/>
                </a:moveTo>
                <a:lnTo>
                  <a:pt x="1853244" y="46913"/>
                </a:lnTo>
                <a:lnTo>
                  <a:pt x="0" y="46913"/>
                </a:lnTo>
                <a:lnTo>
                  <a:pt x="0" y="140740"/>
                </a:lnTo>
                <a:lnTo>
                  <a:pt x="1853244" y="140740"/>
                </a:lnTo>
                <a:lnTo>
                  <a:pt x="1853244" y="187653"/>
                </a:lnTo>
                <a:lnTo>
                  <a:pt x="1950783" y="93826"/>
                </a:lnTo>
                <a:lnTo>
                  <a:pt x="1853244" y="0"/>
                </a:lnTo>
                <a:close/>
              </a:path>
            </a:pathLst>
          </a:custGeom>
          <a:solidFill>
            <a:srgbClr val="4F87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6363198" y="3753833"/>
            <a:ext cx="1951355" cy="187960"/>
          </a:xfrm>
          <a:custGeom>
            <a:avLst/>
            <a:gdLst/>
            <a:ahLst/>
            <a:cxnLst/>
            <a:rect l="l" t="t" r="r" b="b"/>
            <a:pathLst>
              <a:path w="1951354" h="187960">
                <a:moveTo>
                  <a:pt x="1950783" y="93826"/>
                </a:moveTo>
                <a:lnTo>
                  <a:pt x="1853244" y="187653"/>
                </a:lnTo>
                <a:lnTo>
                  <a:pt x="1853244" y="140740"/>
                </a:lnTo>
                <a:lnTo>
                  <a:pt x="0" y="140740"/>
                </a:lnTo>
                <a:lnTo>
                  <a:pt x="0" y="46913"/>
                </a:lnTo>
                <a:lnTo>
                  <a:pt x="1853244" y="46913"/>
                </a:lnTo>
                <a:lnTo>
                  <a:pt x="1853244" y="0"/>
                </a:lnTo>
                <a:lnTo>
                  <a:pt x="1950783" y="93826"/>
                </a:lnTo>
                <a:close/>
              </a:path>
            </a:pathLst>
          </a:custGeom>
          <a:ln w="3914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8801677" y="3218238"/>
            <a:ext cx="195580" cy="546100"/>
          </a:xfrm>
          <a:custGeom>
            <a:avLst/>
            <a:gdLst/>
            <a:ahLst/>
            <a:cxnLst/>
            <a:rect l="l" t="t" r="r" b="b"/>
            <a:pathLst>
              <a:path w="195579" h="546100">
                <a:moveTo>
                  <a:pt x="195078" y="452193"/>
                </a:moveTo>
                <a:lnTo>
                  <a:pt x="0" y="452193"/>
                </a:lnTo>
                <a:lnTo>
                  <a:pt x="97539" y="546020"/>
                </a:lnTo>
                <a:lnTo>
                  <a:pt x="195078" y="452193"/>
                </a:lnTo>
                <a:close/>
              </a:path>
              <a:path w="195579" h="546100">
                <a:moveTo>
                  <a:pt x="156062" y="0"/>
                </a:moveTo>
                <a:lnTo>
                  <a:pt x="39015" y="0"/>
                </a:lnTo>
                <a:lnTo>
                  <a:pt x="39015" y="452193"/>
                </a:lnTo>
                <a:lnTo>
                  <a:pt x="156062" y="452193"/>
                </a:lnTo>
                <a:lnTo>
                  <a:pt x="156062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8482833" y="3457392"/>
            <a:ext cx="386092" cy="50822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8509060" y="3472352"/>
            <a:ext cx="332105" cy="0"/>
          </a:xfrm>
          <a:custGeom>
            <a:avLst/>
            <a:gdLst/>
            <a:ahLst/>
            <a:cxnLst/>
            <a:rect l="l" t="t" r="r" b="b"/>
            <a:pathLst>
              <a:path w="332104">
                <a:moveTo>
                  <a:pt x="331633" y="0"/>
                </a:moveTo>
                <a:lnTo>
                  <a:pt x="0" y="0"/>
                </a:lnTo>
              </a:path>
            </a:pathLst>
          </a:custGeom>
          <a:ln w="391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8385293" y="3363565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8409525" y="3376530"/>
            <a:ext cx="199069" cy="191644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7312362" y="3551219"/>
            <a:ext cx="56897" cy="285390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7338590" y="3566179"/>
            <a:ext cx="0" cy="234950"/>
          </a:xfrm>
          <a:custGeom>
            <a:avLst/>
            <a:gdLst/>
            <a:ahLst/>
            <a:cxnLst/>
            <a:rect l="l" t="t" r="r" b="b"/>
            <a:pathLst>
              <a:path h="234950">
                <a:moveTo>
                  <a:pt x="0" y="234567"/>
                </a:moveTo>
                <a:lnTo>
                  <a:pt x="0" y="0"/>
                </a:lnTo>
              </a:path>
            </a:pathLst>
          </a:custGeom>
          <a:ln w="406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7214823" y="3457392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7241051" y="3472352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7241051" y="3472352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8287754" y="4700599"/>
            <a:ext cx="1832923" cy="36357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8313981" y="4715559"/>
            <a:ext cx="1780090" cy="312756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en-IE" dirty="0" smtClean="0">
                <a:solidFill>
                  <a:schemeClr val="bg1"/>
                </a:solidFill>
              </a:rPr>
              <a:t>SO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8801678" y="4095259"/>
            <a:ext cx="195580" cy="620395"/>
          </a:xfrm>
          <a:custGeom>
            <a:avLst/>
            <a:gdLst/>
            <a:ahLst/>
            <a:cxnLst/>
            <a:rect l="l" t="t" r="r" b="b"/>
            <a:pathLst>
              <a:path w="195579" h="620395">
                <a:moveTo>
                  <a:pt x="156062" y="0"/>
                </a:moveTo>
                <a:lnTo>
                  <a:pt x="156062" y="526473"/>
                </a:lnTo>
                <a:lnTo>
                  <a:pt x="195078" y="526473"/>
                </a:lnTo>
                <a:lnTo>
                  <a:pt x="97539" y="620300"/>
                </a:lnTo>
                <a:lnTo>
                  <a:pt x="0" y="526473"/>
                </a:lnTo>
                <a:lnTo>
                  <a:pt x="39015" y="526473"/>
                </a:lnTo>
                <a:lnTo>
                  <a:pt x="39015" y="0"/>
                </a:lnTo>
              </a:path>
            </a:pathLst>
          </a:custGeom>
          <a:ln w="540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8840693" y="4095259"/>
            <a:ext cx="117475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117047" y="0"/>
                </a:moveTo>
                <a:lnTo>
                  <a:pt x="0" y="0"/>
                </a:lnTo>
              </a:path>
            </a:pathLst>
          </a:custGeom>
          <a:ln w="5212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933951" y="4301834"/>
            <a:ext cx="386092" cy="50822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9165607" y="4208007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9189839" y="4220972"/>
            <a:ext cx="199069" cy="191644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3945472" y="4077015"/>
            <a:ext cx="153670" cy="1694180"/>
          </a:xfrm>
          <a:custGeom>
            <a:avLst/>
            <a:gdLst/>
            <a:ahLst/>
            <a:cxnLst/>
            <a:rect l="l" t="t" r="r" b="b"/>
            <a:pathLst>
              <a:path w="153670" h="1694179">
                <a:moveTo>
                  <a:pt x="122899" y="73862"/>
                </a:moveTo>
                <a:lnTo>
                  <a:pt x="153624" y="73862"/>
                </a:lnTo>
                <a:lnTo>
                  <a:pt x="76785" y="0"/>
                </a:lnTo>
                <a:lnTo>
                  <a:pt x="0" y="73862"/>
                </a:lnTo>
                <a:lnTo>
                  <a:pt x="30724" y="73862"/>
                </a:lnTo>
                <a:lnTo>
                  <a:pt x="30724" y="1620182"/>
                </a:lnTo>
                <a:lnTo>
                  <a:pt x="0" y="1620182"/>
                </a:lnTo>
                <a:lnTo>
                  <a:pt x="76785" y="1694096"/>
                </a:lnTo>
                <a:lnTo>
                  <a:pt x="153624" y="1620182"/>
                </a:lnTo>
                <a:lnTo>
                  <a:pt x="122899" y="1620182"/>
                </a:lnTo>
                <a:lnTo>
                  <a:pt x="122899" y="73862"/>
                </a:lnTo>
                <a:close/>
              </a:path>
            </a:pathLst>
          </a:custGeom>
          <a:ln w="5417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3951325" y="5240103"/>
            <a:ext cx="394220" cy="50822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4191108" y="5146276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4215340" y="5159241"/>
            <a:ext cx="199069" cy="191644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2851787" y="5255063"/>
            <a:ext cx="422909" cy="0"/>
          </a:xfrm>
          <a:custGeom>
            <a:avLst/>
            <a:gdLst/>
            <a:ahLst/>
            <a:cxnLst/>
            <a:rect l="l" t="t" r="r" b="b"/>
            <a:pathLst>
              <a:path w="422910">
                <a:moveTo>
                  <a:pt x="422669" y="0"/>
                </a:moveTo>
                <a:lnTo>
                  <a:pt x="0" y="0"/>
                </a:lnTo>
              </a:path>
            </a:pathLst>
          </a:custGeom>
          <a:ln w="3913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2728021" y="5146276"/>
            <a:ext cx="247912" cy="23847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2752253" y="5159241"/>
            <a:ext cx="199069" cy="191644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4187044" y="4864796"/>
            <a:ext cx="60961" cy="215019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4210887" y="4879756"/>
            <a:ext cx="6985" cy="163195"/>
          </a:xfrm>
          <a:custGeom>
            <a:avLst/>
            <a:gdLst/>
            <a:ahLst/>
            <a:cxnLst/>
            <a:rect l="l" t="t" r="r" b="b"/>
            <a:pathLst>
              <a:path w="6985" h="163195">
                <a:moveTo>
                  <a:pt x="0" y="0"/>
                </a:moveTo>
                <a:lnTo>
                  <a:pt x="6448" y="162893"/>
                </a:lnTo>
              </a:path>
            </a:pathLst>
          </a:custGeom>
          <a:ln w="406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4093569" y="4935166"/>
            <a:ext cx="247912" cy="238476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4119796" y="494882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97539" y="0"/>
                </a:move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4119796" y="4948823"/>
            <a:ext cx="195580" cy="187960"/>
          </a:xfrm>
          <a:custGeom>
            <a:avLst/>
            <a:gdLst/>
            <a:ahLst/>
            <a:cxnLst/>
            <a:rect l="l" t="t" r="r" b="b"/>
            <a:pathLst>
              <a:path w="195579" h="187960">
                <a:moveTo>
                  <a:pt x="0" y="93826"/>
                </a:moveTo>
                <a:lnTo>
                  <a:pt x="7665" y="130346"/>
                </a:lnTo>
                <a:lnTo>
                  <a:pt x="28570" y="160170"/>
                </a:lnTo>
                <a:lnTo>
                  <a:pt x="59575" y="180279"/>
                </a:lnTo>
                <a:lnTo>
                  <a:pt x="97539" y="187653"/>
                </a:lnTo>
                <a:lnTo>
                  <a:pt x="135503" y="180279"/>
                </a:lnTo>
                <a:lnTo>
                  <a:pt x="166507" y="160170"/>
                </a:lnTo>
                <a:lnTo>
                  <a:pt x="187412" y="130346"/>
                </a:lnTo>
                <a:lnTo>
                  <a:pt x="195078" y="93826"/>
                </a:lnTo>
                <a:lnTo>
                  <a:pt x="187412" y="57307"/>
                </a:lnTo>
                <a:lnTo>
                  <a:pt x="166507" y="27483"/>
                </a:lnTo>
                <a:lnTo>
                  <a:pt x="135503" y="7374"/>
                </a:lnTo>
                <a:lnTo>
                  <a:pt x="97539" y="0"/>
                </a:lnTo>
                <a:lnTo>
                  <a:pt x="59575" y="7374"/>
                </a:lnTo>
                <a:lnTo>
                  <a:pt x="28570" y="27483"/>
                </a:lnTo>
                <a:lnTo>
                  <a:pt x="7665" y="57307"/>
                </a:lnTo>
                <a:lnTo>
                  <a:pt x="0" y="93826"/>
                </a:lnTo>
                <a:close/>
              </a:path>
            </a:pathLst>
          </a:custGeom>
          <a:ln w="398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998554" y="3706919"/>
            <a:ext cx="6437630" cy="2674620"/>
          </a:xfrm>
          <a:custGeom>
            <a:avLst/>
            <a:gdLst/>
            <a:ahLst/>
            <a:cxnLst/>
            <a:rect l="l" t="t" r="r" b="b"/>
            <a:pathLst>
              <a:path w="6437630" h="2674620">
                <a:moveTo>
                  <a:pt x="643747" y="2674047"/>
                </a:moveTo>
                <a:lnTo>
                  <a:pt x="5793816" y="2674047"/>
                </a:lnTo>
                <a:lnTo>
                  <a:pt x="5841860" y="2672349"/>
                </a:lnTo>
                <a:lnTo>
                  <a:pt x="5888944" y="2667334"/>
                </a:lnTo>
                <a:lnTo>
                  <a:pt x="5934946" y="2659122"/>
                </a:lnTo>
                <a:lnTo>
                  <a:pt x="5979739" y="2647832"/>
                </a:lnTo>
                <a:lnTo>
                  <a:pt x="6023201" y="2633583"/>
                </a:lnTo>
                <a:lnTo>
                  <a:pt x="6065205" y="2616497"/>
                </a:lnTo>
                <a:lnTo>
                  <a:pt x="6105629" y="2596692"/>
                </a:lnTo>
                <a:lnTo>
                  <a:pt x="6144346" y="2574288"/>
                </a:lnTo>
                <a:lnTo>
                  <a:pt x="6181233" y="2549405"/>
                </a:lnTo>
                <a:lnTo>
                  <a:pt x="6216166" y="2522163"/>
                </a:lnTo>
                <a:lnTo>
                  <a:pt x="6249019" y="2492681"/>
                </a:lnTo>
                <a:lnTo>
                  <a:pt x="6279669" y="2461080"/>
                </a:lnTo>
                <a:lnTo>
                  <a:pt x="6307991" y="2427478"/>
                </a:lnTo>
                <a:lnTo>
                  <a:pt x="6333859" y="2391995"/>
                </a:lnTo>
                <a:lnTo>
                  <a:pt x="6357151" y="2354752"/>
                </a:lnTo>
                <a:lnTo>
                  <a:pt x="6377741" y="2315868"/>
                </a:lnTo>
                <a:lnTo>
                  <a:pt x="6395505" y="2275463"/>
                </a:lnTo>
                <a:lnTo>
                  <a:pt x="6410318" y="2233656"/>
                </a:lnTo>
                <a:lnTo>
                  <a:pt x="6422056" y="2190568"/>
                </a:lnTo>
                <a:lnTo>
                  <a:pt x="6430595" y="2146317"/>
                </a:lnTo>
                <a:lnTo>
                  <a:pt x="6435809" y="2101024"/>
                </a:lnTo>
                <a:lnTo>
                  <a:pt x="6437575" y="2054809"/>
                </a:lnTo>
                <a:lnTo>
                  <a:pt x="6437575" y="619257"/>
                </a:lnTo>
                <a:lnTo>
                  <a:pt x="6435809" y="573042"/>
                </a:lnTo>
                <a:lnTo>
                  <a:pt x="6430596" y="527749"/>
                </a:lnTo>
                <a:lnTo>
                  <a:pt x="6422059" y="483499"/>
                </a:lnTo>
                <a:lnTo>
                  <a:pt x="6410323" y="440410"/>
                </a:lnTo>
                <a:lnTo>
                  <a:pt x="6395512" y="398603"/>
                </a:lnTo>
                <a:lnTo>
                  <a:pt x="6377751" y="358197"/>
                </a:lnTo>
                <a:lnTo>
                  <a:pt x="6357164" y="319312"/>
                </a:lnTo>
                <a:lnTo>
                  <a:pt x="6333876" y="282068"/>
                </a:lnTo>
                <a:lnTo>
                  <a:pt x="6308010" y="246585"/>
                </a:lnTo>
                <a:lnTo>
                  <a:pt x="6279692" y="212982"/>
                </a:lnTo>
                <a:lnTo>
                  <a:pt x="6249046" y="181379"/>
                </a:lnTo>
                <a:lnTo>
                  <a:pt x="6216197" y="151895"/>
                </a:lnTo>
                <a:lnTo>
                  <a:pt x="6181268" y="124652"/>
                </a:lnTo>
                <a:lnTo>
                  <a:pt x="6144384" y="99768"/>
                </a:lnTo>
                <a:lnTo>
                  <a:pt x="6105670" y="77362"/>
                </a:lnTo>
                <a:lnTo>
                  <a:pt x="6065250" y="57556"/>
                </a:lnTo>
                <a:lnTo>
                  <a:pt x="6023248" y="40468"/>
                </a:lnTo>
                <a:lnTo>
                  <a:pt x="5979789" y="26219"/>
                </a:lnTo>
                <a:lnTo>
                  <a:pt x="5934997" y="14928"/>
                </a:lnTo>
                <a:lnTo>
                  <a:pt x="5888997" y="6714"/>
                </a:lnTo>
                <a:lnTo>
                  <a:pt x="5841914" y="1698"/>
                </a:lnTo>
                <a:lnTo>
                  <a:pt x="5793870" y="0"/>
                </a:lnTo>
                <a:lnTo>
                  <a:pt x="643747" y="0"/>
                </a:lnTo>
                <a:lnTo>
                  <a:pt x="595705" y="1698"/>
                </a:lnTo>
                <a:lnTo>
                  <a:pt x="548622" y="6713"/>
                </a:lnTo>
                <a:lnTo>
                  <a:pt x="502622" y="14925"/>
                </a:lnTo>
                <a:lnTo>
                  <a:pt x="457829" y="26214"/>
                </a:lnTo>
                <a:lnTo>
                  <a:pt x="414369" y="40461"/>
                </a:lnTo>
                <a:lnTo>
                  <a:pt x="372366" y="57547"/>
                </a:lnTo>
                <a:lnTo>
                  <a:pt x="331943" y="77350"/>
                </a:lnTo>
                <a:lnTo>
                  <a:pt x="293227" y="99752"/>
                </a:lnTo>
                <a:lnTo>
                  <a:pt x="256340" y="124633"/>
                </a:lnTo>
                <a:lnTo>
                  <a:pt x="221408" y="151873"/>
                </a:lnTo>
                <a:lnTo>
                  <a:pt x="188556" y="181353"/>
                </a:lnTo>
                <a:lnTo>
                  <a:pt x="157906" y="212952"/>
                </a:lnTo>
                <a:lnTo>
                  <a:pt x="129585" y="246552"/>
                </a:lnTo>
                <a:lnTo>
                  <a:pt x="103717" y="282032"/>
                </a:lnTo>
                <a:lnTo>
                  <a:pt x="80425" y="319272"/>
                </a:lnTo>
                <a:lnTo>
                  <a:pt x="59835" y="358154"/>
                </a:lnTo>
                <a:lnTo>
                  <a:pt x="42072" y="398558"/>
                </a:lnTo>
                <a:lnTo>
                  <a:pt x="27258" y="440362"/>
                </a:lnTo>
                <a:lnTo>
                  <a:pt x="15520" y="483449"/>
                </a:lnTo>
                <a:lnTo>
                  <a:pt x="6981" y="527698"/>
                </a:lnTo>
                <a:lnTo>
                  <a:pt x="1766" y="572990"/>
                </a:lnTo>
                <a:lnTo>
                  <a:pt x="0" y="619205"/>
                </a:lnTo>
                <a:lnTo>
                  <a:pt x="0" y="2054809"/>
                </a:lnTo>
                <a:lnTo>
                  <a:pt x="1764" y="2101021"/>
                </a:lnTo>
                <a:lnTo>
                  <a:pt x="6978" y="2146312"/>
                </a:lnTo>
                <a:lnTo>
                  <a:pt x="15515" y="2190561"/>
                </a:lnTo>
                <a:lnTo>
                  <a:pt x="27252" y="2233648"/>
                </a:lnTo>
                <a:lnTo>
                  <a:pt x="42065" y="2275453"/>
                </a:lnTo>
                <a:lnTo>
                  <a:pt x="59827" y="2315857"/>
                </a:lnTo>
                <a:lnTo>
                  <a:pt x="80416" y="2354741"/>
                </a:lnTo>
                <a:lnTo>
                  <a:pt x="103707" y="2391983"/>
                </a:lnTo>
                <a:lnTo>
                  <a:pt x="129574" y="2427465"/>
                </a:lnTo>
                <a:lnTo>
                  <a:pt x="157895" y="2461067"/>
                </a:lnTo>
                <a:lnTo>
                  <a:pt x="188543" y="2492669"/>
                </a:lnTo>
                <a:lnTo>
                  <a:pt x="221396" y="2522152"/>
                </a:lnTo>
                <a:lnTo>
                  <a:pt x="256328" y="2549394"/>
                </a:lnTo>
                <a:lnTo>
                  <a:pt x="293214" y="2574278"/>
                </a:lnTo>
                <a:lnTo>
                  <a:pt x="331932" y="2596683"/>
                </a:lnTo>
                <a:lnTo>
                  <a:pt x="372355" y="2616489"/>
                </a:lnTo>
                <a:lnTo>
                  <a:pt x="414359" y="2633576"/>
                </a:lnTo>
                <a:lnTo>
                  <a:pt x="457821" y="2647826"/>
                </a:lnTo>
                <a:lnTo>
                  <a:pt x="502615" y="2659117"/>
                </a:lnTo>
                <a:lnTo>
                  <a:pt x="548617" y="2667331"/>
                </a:lnTo>
                <a:lnTo>
                  <a:pt x="595702" y="2672348"/>
                </a:lnTo>
                <a:lnTo>
                  <a:pt x="643747" y="2674047"/>
                </a:lnTo>
                <a:close/>
              </a:path>
            </a:pathLst>
          </a:custGeom>
          <a:ln w="3936">
            <a:solidFill>
              <a:srgbClr val="C7C7C7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 txBox="1"/>
          <p:nvPr/>
        </p:nvSpPr>
        <p:spPr>
          <a:xfrm>
            <a:off x="1428075" y="5859838"/>
            <a:ext cx="744855" cy="3263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35"/>
              </a:spcBef>
            </a:pPr>
            <a:r>
              <a:rPr sz="950" spc="35" dirty="0">
                <a:latin typeface="Calibri"/>
                <a:cs typeface="Calibri"/>
              </a:rPr>
              <a:t>ONAP</a:t>
            </a:r>
            <a:r>
              <a:rPr sz="950" spc="-20" dirty="0">
                <a:latin typeface="Calibri"/>
                <a:cs typeface="Calibri"/>
              </a:rPr>
              <a:t> </a:t>
            </a:r>
            <a:r>
              <a:rPr sz="950" spc="25" dirty="0">
                <a:latin typeface="Calibri"/>
                <a:cs typeface="Calibri"/>
              </a:rPr>
              <a:t>Service</a:t>
            </a:r>
            <a:endParaRPr sz="95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950" spc="25" dirty="0">
                <a:latin typeface="Calibri"/>
                <a:cs typeface="Calibri"/>
              </a:rPr>
              <a:t>Provider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7944091" y="3660006"/>
            <a:ext cx="3714750" cy="2674620"/>
          </a:xfrm>
          <a:custGeom>
            <a:avLst/>
            <a:gdLst/>
            <a:ahLst/>
            <a:cxnLst/>
            <a:rect l="l" t="t" r="r" b="b"/>
            <a:pathLst>
              <a:path w="3714750" h="2674620">
                <a:moveTo>
                  <a:pt x="371515" y="2674045"/>
                </a:moveTo>
                <a:lnTo>
                  <a:pt x="3343263" y="2674045"/>
                </a:lnTo>
                <a:lnTo>
                  <a:pt x="3393670" y="2670783"/>
                </a:lnTo>
                <a:lnTo>
                  <a:pt x="3442014" y="2661281"/>
                </a:lnTo>
                <a:lnTo>
                  <a:pt x="3487855" y="2645965"/>
                </a:lnTo>
                <a:lnTo>
                  <a:pt x="3530749" y="2625260"/>
                </a:lnTo>
                <a:lnTo>
                  <a:pt x="3570255" y="2599592"/>
                </a:lnTo>
                <a:lnTo>
                  <a:pt x="3605928" y="2569387"/>
                </a:lnTo>
                <a:lnTo>
                  <a:pt x="3637328" y="2535071"/>
                </a:lnTo>
                <a:lnTo>
                  <a:pt x="3664011" y="2497069"/>
                </a:lnTo>
                <a:lnTo>
                  <a:pt x="3685534" y="2455808"/>
                </a:lnTo>
                <a:lnTo>
                  <a:pt x="3701456" y="2411712"/>
                </a:lnTo>
                <a:lnTo>
                  <a:pt x="3711334" y="2365208"/>
                </a:lnTo>
                <a:lnTo>
                  <a:pt x="3714725" y="2316721"/>
                </a:lnTo>
                <a:lnTo>
                  <a:pt x="3714725" y="357324"/>
                </a:lnTo>
                <a:lnTo>
                  <a:pt x="3711334" y="308836"/>
                </a:lnTo>
                <a:lnTo>
                  <a:pt x="3701456" y="262331"/>
                </a:lnTo>
                <a:lnTo>
                  <a:pt x="3685534" y="218235"/>
                </a:lnTo>
                <a:lnTo>
                  <a:pt x="3664011" y="176973"/>
                </a:lnTo>
                <a:lnTo>
                  <a:pt x="3637328" y="138972"/>
                </a:lnTo>
                <a:lnTo>
                  <a:pt x="3605928" y="104656"/>
                </a:lnTo>
                <a:lnTo>
                  <a:pt x="3570255" y="74451"/>
                </a:lnTo>
                <a:lnTo>
                  <a:pt x="3530749" y="48784"/>
                </a:lnTo>
                <a:lnTo>
                  <a:pt x="3487855" y="28079"/>
                </a:lnTo>
                <a:lnTo>
                  <a:pt x="3442014" y="12763"/>
                </a:lnTo>
                <a:lnTo>
                  <a:pt x="3393670" y="3261"/>
                </a:lnTo>
                <a:lnTo>
                  <a:pt x="3343263" y="0"/>
                </a:lnTo>
                <a:lnTo>
                  <a:pt x="371515" y="0"/>
                </a:lnTo>
                <a:lnTo>
                  <a:pt x="321108" y="3261"/>
                </a:lnTo>
                <a:lnTo>
                  <a:pt x="272761" y="12763"/>
                </a:lnTo>
                <a:lnTo>
                  <a:pt x="226915" y="28079"/>
                </a:lnTo>
                <a:lnTo>
                  <a:pt x="184015" y="48784"/>
                </a:lnTo>
                <a:lnTo>
                  <a:pt x="144504" y="74451"/>
                </a:lnTo>
                <a:lnTo>
                  <a:pt x="108823" y="104656"/>
                </a:lnTo>
                <a:lnTo>
                  <a:pt x="77417" y="138972"/>
                </a:lnTo>
                <a:lnTo>
                  <a:pt x="50728" y="176973"/>
                </a:lnTo>
                <a:lnTo>
                  <a:pt x="29199" y="218235"/>
                </a:lnTo>
                <a:lnTo>
                  <a:pt x="13272" y="262331"/>
                </a:lnTo>
                <a:lnTo>
                  <a:pt x="3391" y="308836"/>
                </a:lnTo>
                <a:lnTo>
                  <a:pt x="0" y="357324"/>
                </a:lnTo>
                <a:lnTo>
                  <a:pt x="0" y="2316721"/>
                </a:lnTo>
                <a:lnTo>
                  <a:pt x="3391" y="2365208"/>
                </a:lnTo>
                <a:lnTo>
                  <a:pt x="13272" y="2411712"/>
                </a:lnTo>
                <a:lnTo>
                  <a:pt x="29199" y="2455808"/>
                </a:lnTo>
                <a:lnTo>
                  <a:pt x="50728" y="2497069"/>
                </a:lnTo>
                <a:lnTo>
                  <a:pt x="77417" y="2535071"/>
                </a:lnTo>
                <a:lnTo>
                  <a:pt x="108823" y="2569387"/>
                </a:lnTo>
                <a:lnTo>
                  <a:pt x="144504" y="2599592"/>
                </a:lnTo>
                <a:lnTo>
                  <a:pt x="184015" y="2625260"/>
                </a:lnTo>
                <a:lnTo>
                  <a:pt x="226915" y="2645965"/>
                </a:lnTo>
                <a:lnTo>
                  <a:pt x="272761" y="2661281"/>
                </a:lnTo>
                <a:lnTo>
                  <a:pt x="321108" y="2670783"/>
                </a:lnTo>
                <a:lnTo>
                  <a:pt x="371515" y="2674045"/>
                </a:lnTo>
                <a:close/>
              </a:path>
            </a:pathLst>
          </a:custGeom>
          <a:ln w="3966">
            <a:solidFill>
              <a:srgbClr val="C7C7C7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 txBox="1"/>
          <p:nvPr/>
        </p:nvSpPr>
        <p:spPr>
          <a:xfrm>
            <a:off x="10609492" y="5666070"/>
            <a:ext cx="765175" cy="17589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950" spc="35" dirty="0">
                <a:latin typeface="Calibri"/>
                <a:cs typeface="Calibri"/>
              </a:rPr>
              <a:t>ONAP</a:t>
            </a:r>
            <a:r>
              <a:rPr sz="950" spc="-30" dirty="0">
                <a:latin typeface="Calibri"/>
                <a:cs typeface="Calibri"/>
              </a:rPr>
              <a:t> </a:t>
            </a:r>
            <a:r>
              <a:rPr sz="950" spc="30" dirty="0">
                <a:latin typeface="Calibri"/>
                <a:cs typeface="Calibri"/>
              </a:rPr>
              <a:t>Partner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6850894" y="1345609"/>
            <a:ext cx="390525" cy="125095"/>
          </a:xfrm>
          <a:custGeom>
            <a:avLst/>
            <a:gdLst/>
            <a:ahLst/>
            <a:cxnLst/>
            <a:rect l="l" t="t" r="r" b="b"/>
            <a:pathLst>
              <a:path w="390525" h="125094">
                <a:moveTo>
                  <a:pt x="65026" y="0"/>
                </a:moveTo>
                <a:lnTo>
                  <a:pt x="0" y="62551"/>
                </a:lnTo>
                <a:lnTo>
                  <a:pt x="65026" y="125050"/>
                </a:lnTo>
                <a:lnTo>
                  <a:pt x="65026" y="93774"/>
                </a:lnTo>
                <a:lnTo>
                  <a:pt x="357670" y="93774"/>
                </a:lnTo>
                <a:lnTo>
                  <a:pt x="390156" y="62551"/>
                </a:lnTo>
                <a:lnTo>
                  <a:pt x="357643" y="31275"/>
                </a:lnTo>
                <a:lnTo>
                  <a:pt x="65026" y="31275"/>
                </a:lnTo>
                <a:lnTo>
                  <a:pt x="65026" y="0"/>
                </a:lnTo>
                <a:close/>
              </a:path>
              <a:path w="390525" h="125094">
                <a:moveTo>
                  <a:pt x="357670" y="93774"/>
                </a:moveTo>
                <a:lnTo>
                  <a:pt x="325130" y="93774"/>
                </a:lnTo>
                <a:lnTo>
                  <a:pt x="325130" y="125050"/>
                </a:lnTo>
                <a:lnTo>
                  <a:pt x="357670" y="93774"/>
                </a:lnTo>
                <a:close/>
              </a:path>
              <a:path w="390525" h="125094">
                <a:moveTo>
                  <a:pt x="325130" y="0"/>
                </a:moveTo>
                <a:lnTo>
                  <a:pt x="325130" y="31275"/>
                </a:lnTo>
                <a:lnTo>
                  <a:pt x="357643" y="31275"/>
                </a:lnTo>
                <a:lnTo>
                  <a:pt x="325130" y="0"/>
                </a:lnTo>
                <a:close/>
              </a:path>
            </a:pathLst>
          </a:custGeom>
          <a:solidFill>
            <a:srgbClr val="FD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 txBox="1"/>
          <p:nvPr/>
        </p:nvSpPr>
        <p:spPr>
          <a:xfrm>
            <a:off x="7297874" y="1351988"/>
            <a:ext cx="239395" cy="1009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500" spc="10" dirty="0">
                <a:solidFill>
                  <a:srgbClr val="5B9BD4"/>
                </a:solidFill>
                <a:latin typeface="Calibri"/>
                <a:cs typeface="Calibri"/>
              </a:rPr>
              <a:t>LE</a:t>
            </a:r>
            <a:r>
              <a:rPr sz="500" dirty="0">
                <a:solidFill>
                  <a:srgbClr val="5B9BD4"/>
                </a:solidFill>
                <a:latin typeface="Calibri"/>
                <a:cs typeface="Calibri"/>
              </a:rPr>
              <a:t>G</a:t>
            </a:r>
            <a:r>
              <a:rPr sz="500" spc="-5" dirty="0">
                <a:solidFill>
                  <a:srgbClr val="5B9BD4"/>
                </a:solidFill>
                <a:latin typeface="Calibri"/>
                <a:cs typeface="Calibri"/>
              </a:rPr>
              <a:t>A</a:t>
            </a:r>
            <a:r>
              <a:rPr sz="500" spc="10" dirty="0">
                <a:solidFill>
                  <a:srgbClr val="5B9BD4"/>
                </a:solidFill>
                <a:latin typeface="Calibri"/>
                <a:cs typeface="Calibri"/>
              </a:rPr>
              <a:t>T</a:t>
            </a:r>
            <a:r>
              <a:rPr sz="500" spc="5" dirty="0">
                <a:solidFill>
                  <a:srgbClr val="5B9BD4"/>
                </a:solidFill>
                <a:latin typeface="Calibri"/>
                <a:cs typeface="Calibri"/>
              </a:rPr>
              <a:t>O</a:t>
            </a:r>
            <a:endParaRPr sz="500">
              <a:latin typeface="Calibri"/>
              <a:cs typeface="Calibri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7804122" y="1330649"/>
            <a:ext cx="438926" cy="172015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7826285" y="1345609"/>
            <a:ext cx="390525" cy="125095"/>
          </a:xfrm>
          <a:custGeom>
            <a:avLst/>
            <a:gdLst/>
            <a:ahLst/>
            <a:cxnLst/>
            <a:rect l="l" t="t" r="r" b="b"/>
            <a:pathLst>
              <a:path w="390525" h="125094">
                <a:moveTo>
                  <a:pt x="65026" y="0"/>
                </a:moveTo>
                <a:lnTo>
                  <a:pt x="0" y="62551"/>
                </a:lnTo>
                <a:lnTo>
                  <a:pt x="65026" y="125050"/>
                </a:lnTo>
                <a:lnTo>
                  <a:pt x="65026" y="93774"/>
                </a:lnTo>
                <a:lnTo>
                  <a:pt x="357670" y="93774"/>
                </a:lnTo>
                <a:lnTo>
                  <a:pt x="390156" y="62551"/>
                </a:lnTo>
                <a:lnTo>
                  <a:pt x="357643" y="31275"/>
                </a:lnTo>
                <a:lnTo>
                  <a:pt x="65026" y="31275"/>
                </a:lnTo>
                <a:lnTo>
                  <a:pt x="65026" y="0"/>
                </a:lnTo>
                <a:close/>
              </a:path>
              <a:path w="390525" h="125094">
                <a:moveTo>
                  <a:pt x="357670" y="93774"/>
                </a:moveTo>
                <a:lnTo>
                  <a:pt x="325130" y="93774"/>
                </a:lnTo>
                <a:lnTo>
                  <a:pt x="325130" y="125050"/>
                </a:lnTo>
                <a:lnTo>
                  <a:pt x="357670" y="93774"/>
                </a:lnTo>
                <a:close/>
              </a:path>
              <a:path w="390525" h="125094">
                <a:moveTo>
                  <a:pt x="325130" y="0"/>
                </a:moveTo>
                <a:lnTo>
                  <a:pt x="325130" y="31275"/>
                </a:lnTo>
                <a:lnTo>
                  <a:pt x="357643" y="31275"/>
                </a:lnTo>
                <a:lnTo>
                  <a:pt x="325130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 txBox="1"/>
          <p:nvPr/>
        </p:nvSpPr>
        <p:spPr>
          <a:xfrm>
            <a:off x="8336721" y="1346775"/>
            <a:ext cx="247015" cy="1009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500" dirty="0">
                <a:solidFill>
                  <a:srgbClr val="5B9BD4"/>
                </a:solidFill>
                <a:latin typeface="Calibri"/>
                <a:cs typeface="Calibri"/>
              </a:rPr>
              <a:t>SONATA</a:t>
            </a:r>
            <a:endParaRPr sz="500">
              <a:latin typeface="Calibri"/>
              <a:cs typeface="Calibri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8775450" y="1326740"/>
            <a:ext cx="447054" cy="179834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8801677" y="1345609"/>
            <a:ext cx="390525" cy="125095"/>
          </a:xfrm>
          <a:custGeom>
            <a:avLst/>
            <a:gdLst/>
            <a:ahLst/>
            <a:cxnLst/>
            <a:rect l="l" t="t" r="r" b="b"/>
            <a:pathLst>
              <a:path w="390525" h="125094">
                <a:moveTo>
                  <a:pt x="65026" y="0"/>
                </a:moveTo>
                <a:lnTo>
                  <a:pt x="0" y="62551"/>
                </a:lnTo>
                <a:lnTo>
                  <a:pt x="65026" y="125050"/>
                </a:lnTo>
                <a:lnTo>
                  <a:pt x="65026" y="93774"/>
                </a:lnTo>
                <a:lnTo>
                  <a:pt x="357670" y="93774"/>
                </a:lnTo>
                <a:lnTo>
                  <a:pt x="390156" y="62551"/>
                </a:lnTo>
                <a:lnTo>
                  <a:pt x="357643" y="31275"/>
                </a:lnTo>
                <a:lnTo>
                  <a:pt x="65026" y="31275"/>
                </a:lnTo>
                <a:lnTo>
                  <a:pt x="65026" y="0"/>
                </a:lnTo>
                <a:close/>
              </a:path>
              <a:path w="390525" h="125094">
                <a:moveTo>
                  <a:pt x="357670" y="93774"/>
                </a:moveTo>
                <a:lnTo>
                  <a:pt x="325130" y="93774"/>
                </a:lnTo>
                <a:lnTo>
                  <a:pt x="325130" y="125050"/>
                </a:lnTo>
                <a:lnTo>
                  <a:pt x="357670" y="93774"/>
                </a:lnTo>
                <a:close/>
              </a:path>
              <a:path w="390525" h="125094">
                <a:moveTo>
                  <a:pt x="325130" y="0"/>
                </a:moveTo>
                <a:lnTo>
                  <a:pt x="325130" y="31275"/>
                </a:lnTo>
                <a:lnTo>
                  <a:pt x="357643" y="31275"/>
                </a:lnTo>
                <a:lnTo>
                  <a:pt x="325130" y="0"/>
                </a:lnTo>
                <a:close/>
              </a:path>
            </a:pathLst>
          </a:custGeom>
          <a:solidFill>
            <a:srgbClr val="4F87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8801678" y="1345609"/>
            <a:ext cx="390525" cy="125095"/>
          </a:xfrm>
          <a:custGeom>
            <a:avLst/>
            <a:gdLst/>
            <a:ahLst/>
            <a:cxnLst/>
            <a:rect l="l" t="t" r="r" b="b"/>
            <a:pathLst>
              <a:path w="390525" h="125094">
                <a:moveTo>
                  <a:pt x="0" y="62551"/>
                </a:moveTo>
                <a:lnTo>
                  <a:pt x="65026" y="0"/>
                </a:lnTo>
                <a:lnTo>
                  <a:pt x="65026" y="31275"/>
                </a:lnTo>
                <a:lnTo>
                  <a:pt x="325130" y="31275"/>
                </a:lnTo>
                <a:lnTo>
                  <a:pt x="325130" y="0"/>
                </a:lnTo>
                <a:lnTo>
                  <a:pt x="390156" y="62551"/>
                </a:lnTo>
                <a:lnTo>
                  <a:pt x="325130" y="125050"/>
                </a:lnTo>
                <a:lnTo>
                  <a:pt x="325130" y="93774"/>
                </a:lnTo>
                <a:lnTo>
                  <a:pt x="65026" y="93774"/>
                </a:lnTo>
                <a:lnTo>
                  <a:pt x="65026" y="125050"/>
                </a:lnTo>
                <a:lnTo>
                  <a:pt x="0" y="62551"/>
                </a:lnTo>
                <a:close/>
              </a:path>
            </a:pathLst>
          </a:custGeom>
          <a:ln w="3927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 txBox="1"/>
          <p:nvPr/>
        </p:nvSpPr>
        <p:spPr>
          <a:xfrm>
            <a:off x="9325930" y="1357200"/>
            <a:ext cx="321310" cy="1009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500" dirty="0">
                <a:solidFill>
                  <a:srgbClr val="5B9BD4"/>
                </a:solidFill>
                <a:latin typeface="Calibri"/>
                <a:cs typeface="Calibri"/>
              </a:rPr>
              <a:t>I</a:t>
            </a:r>
            <a:r>
              <a:rPr sz="500" spc="-10" dirty="0">
                <a:solidFill>
                  <a:srgbClr val="5B9BD4"/>
                </a:solidFill>
                <a:latin typeface="Calibri"/>
                <a:cs typeface="Calibri"/>
              </a:rPr>
              <a:t>N</a:t>
            </a:r>
            <a:r>
              <a:rPr sz="500" spc="10" dirty="0">
                <a:solidFill>
                  <a:srgbClr val="5B9BD4"/>
                </a:solidFill>
                <a:latin typeface="Calibri"/>
                <a:cs typeface="Calibri"/>
              </a:rPr>
              <a:t>TER</a:t>
            </a:r>
            <a:r>
              <a:rPr sz="500" spc="-20" dirty="0">
                <a:solidFill>
                  <a:srgbClr val="5B9BD4"/>
                </a:solidFill>
                <a:latin typeface="Calibri"/>
                <a:cs typeface="Calibri"/>
              </a:rPr>
              <a:t>L</a:t>
            </a:r>
            <a:r>
              <a:rPr sz="500" spc="25" dirty="0">
                <a:solidFill>
                  <a:srgbClr val="5B9BD4"/>
                </a:solidFill>
                <a:latin typeface="Calibri"/>
                <a:cs typeface="Calibri"/>
              </a:rPr>
              <a:t>U</a:t>
            </a:r>
            <a:r>
              <a:rPr sz="500" spc="-25" dirty="0">
                <a:solidFill>
                  <a:srgbClr val="5B9BD4"/>
                </a:solidFill>
                <a:latin typeface="Calibri"/>
                <a:cs typeface="Calibri"/>
              </a:rPr>
              <a:t>D</a:t>
            </a:r>
            <a:r>
              <a:rPr sz="500" spc="5" dirty="0">
                <a:solidFill>
                  <a:srgbClr val="5B9BD4"/>
                </a:solidFill>
                <a:latin typeface="Calibri"/>
                <a:cs typeface="Calibri"/>
              </a:rPr>
              <a:t>E</a:t>
            </a:r>
            <a:endParaRPr sz="500">
              <a:latin typeface="Calibri"/>
              <a:cs typeface="Calibri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507285" y="3204586"/>
            <a:ext cx="4734714" cy="3130039"/>
          </a:xfrm>
          <a:prstGeom prst="rect">
            <a:avLst/>
          </a:prstGeom>
          <a:noFill/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248" name="TextBox 247"/>
          <p:cNvSpPr txBox="1"/>
          <p:nvPr/>
        </p:nvSpPr>
        <p:spPr>
          <a:xfrm>
            <a:off x="165469" y="1244076"/>
            <a:ext cx="23330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b="1" dirty="0" smtClean="0">
                <a:solidFill>
                  <a:srgbClr val="D34817"/>
                </a:solidFill>
              </a:rPr>
              <a:t>Relevant to 5GTANGO</a:t>
            </a:r>
          </a:p>
          <a:p>
            <a:r>
              <a:rPr lang="en-IE" b="1" dirty="0" smtClean="0">
                <a:solidFill>
                  <a:srgbClr val="D34817"/>
                </a:solidFill>
              </a:rPr>
              <a:t>V&amp;V Platform Adapter</a:t>
            </a:r>
            <a:endParaRPr lang="en-IE" b="1" dirty="0">
              <a:solidFill>
                <a:srgbClr val="D3481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994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7" grpId="0" animBg="1"/>
      <p:bldP spid="24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163958" y="295147"/>
            <a:ext cx="1494874" cy="3124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66601" y="6588200"/>
            <a:ext cx="157479" cy="1114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93903" y="85700"/>
            <a:ext cx="5231834" cy="6905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Onboarding</a:t>
            </a:r>
            <a:r>
              <a:rPr spc="-75" dirty="0"/>
              <a:t> </a:t>
            </a:r>
            <a:r>
              <a:rPr dirty="0"/>
              <a:t>Process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9773793" y="3600069"/>
            <a:ext cx="227520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2590" marR="5080" indent="-390525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Calibri"/>
                <a:cs typeface="Calibri"/>
              </a:rPr>
              <a:t>Same </a:t>
            </a:r>
            <a:r>
              <a:rPr sz="1800" spc="-15" dirty="0">
                <a:latin typeface="Calibri"/>
                <a:cs typeface="Calibri"/>
              </a:rPr>
              <a:t>for </a:t>
            </a:r>
            <a:r>
              <a:rPr sz="1800" spc="-5" dirty="0">
                <a:latin typeface="Calibri"/>
                <a:cs typeface="Calibri"/>
              </a:rPr>
              <a:t>SP </a:t>
            </a:r>
            <a:r>
              <a:rPr sz="1800" dirty="0">
                <a:latin typeface="Calibri"/>
                <a:cs typeface="Calibri"/>
              </a:rPr>
              <a:t>and </a:t>
            </a:r>
            <a:r>
              <a:rPr sz="1800" spc="-10" dirty="0">
                <a:latin typeface="Calibri"/>
                <a:cs typeface="Calibri"/>
              </a:rPr>
              <a:t>Partner  </a:t>
            </a:r>
            <a:r>
              <a:rPr sz="1800" spc="-5" dirty="0">
                <a:latin typeface="Calibri"/>
                <a:cs typeface="Calibri"/>
              </a:rPr>
              <a:t>ONAP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Instances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10293" y="4195922"/>
            <a:ext cx="4446905" cy="250825"/>
          </a:xfrm>
          <a:custGeom>
            <a:avLst/>
            <a:gdLst/>
            <a:ahLst/>
            <a:cxnLst/>
            <a:rect l="l" t="t" r="r" b="b"/>
            <a:pathLst>
              <a:path w="4446905" h="250825">
                <a:moveTo>
                  <a:pt x="0" y="0"/>
                </a:moveTo>
                <a:lnTo>
                  <a:pt x="0" y="250379"/>
                </a:lnTo>
                <a:lnTo>
                  <a:pt x="4446413" y="250380"/>
                </a:lnTo>
              </a:path>
            </a:pathLst>
          </a:custGeom>
          <a:ln w="45208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936458" y="4366042"/>
            <a:ext cx="161290" cy="160655"/>
          </a:xfrm>
          <a:custGeom>
            <a:avLst/>
            <a:gdLst/>
            <a:ahLst/>
            <a:cxnLst/>
            <a:rect l="l" t="t" r="r" b="b"/>
            <a:pathLst>
              <a:path w="161290" h="160654">
                <a:moveTo>
                  <a:pt x="0" y="0"/>
                </a:moveTo>
                <a:lnTo>
                  <a:pt x="0" y="160521"/>
                </a:lnTo>
                <a:lnTo>
                  <a:pt x="161151" y="8026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829902" y="3757757"/>
            <a:ext cx="739140" cy="0"/>
          </a:xfrm>
          <a:custGeom>
            <a:avLst/>
            <a:gdLst/>
            <a:ahLst/>
            <a:cxnLst/>
            <a:rect l="l" t="t" r="r" b="b"/>
            <a:pathLst>
              <a:path w="739139">
                <a:moveTo>
                  <a:pt x="0" y="0"/>
                </a:moveTo>
                <a:lnTo>
                  <a:pt x="738864" y="0"/>
                </a:lnTo>
              </a:path>
            </a:pathLst>
          </a:custGeom>
          <a:ln w="45207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548518" y="3677496"/>
            <a:ext cx="161290" cy="160655"/>
          </a:xfrm>
          <a:custGeom>
            <a:avLst/>
            <a:gdLst/>
            <a:ahLst/>
            <a:cxnLst/>
            <a:rect l="l" t="t" r="r" b="b"/>
            <a:pathLst>
              <a:path w="161289" h="160654">
                <a:moveTo>
                  <a:pt x="0" y="0"/>
                </a:moveTo>
                <a:lnTo>
                  <a:pt x="0" y="160521"/>
                </a:lnTo>
                <a:lnTo>
                  <a:pt x="161151" y="8026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190645" y="3319592"/>
            <a:ext cx="2639301" cy="8763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190645" y="3319592"/>
            <a:ext cx="2639695" cy="876935"/>
          </a:xfrm>
          <a:custGeom>
            <a:avLst/>
            <a:gdLst/>
            <a:ahLst/>
            <a:cxnLst/>
            <a:rect l="l" t="t" r="r" b="b"/>
            <a:pathLst>
              <a:path w="2639695" h="876935">
                <a:moveTo>
                  <a:pt x="0" y="876329"/>
                </a:moveTo>
                <a:lnTo>
                  <a:pt x="2639301" y="876329"/>
                </a:lnTo>
                <a:lnTo>
                  <a:pt x="2639301" y="0"/>
                </a:lnTo>
                <a:lnTo>
                  <a:pt x="0" y="0"/>
                </a:lnTo>
                <a:lnTo>
                  <a:pt x="0" y="876329"/>
                </a:lnTo>
                <a:close/>
              </a:path>
            </a:pathLst>
          </a:custGeom>
          <a:ln w="2087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190645" y="3573964"/>
            <a:ext cx="2639695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25"/>
              </a:spcBef>
            </a:pPr>
            <a:r>
              <a:rPr sz="1950" spc="5" dirty="0">
                <a:solidFill>
                  <a:srgbClr val="FFFFFF"/>
                </a:solidFill>
                <a:latin typeface="Franklin Gothic Medium"/>
                <a:cs typeface="Franklin Gothic Medium"/>
              </a:rPr>
              <a:t>SDC</a:t>
            </a:r>
            <a:endParaRPr sz="1950">
              <a:latin typeface="Franklin Gothic Medium"/>
              <a:cs typeface="Franklin Gothic Medium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709669" y="1942502"/>
            <a:ext cx="4524517" cy="6259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4709669" y="2068207"/>
            <a:ext cx="4525010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25"/>
              </a:spcBef>
            </a:pPr>
            <a:r>
              <a:rPr sz="1950" spc="-30" dirty="0">
                <a:solidFill>
                  <a:srgbClr val="FFFFFF"/>
                </a:solidFill>
                <a:latin typeface="Franklin Gothic Medium"/>
                <a:cs typeface="Franklin Gothic Medium"/>
              </a:rPr>
              <a:t>Ext-API</a:t>
            </a:r>
            <a:endParaRPr sz="1950">
              <a:latin typeface="Franklin Gothic Medium"/>
              <a:cs typeface="Franklin Gothic Medium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369765" y="2318072"/>
            <a:ext cx="396240" cy="1002030"/>
          </a:xfrm>
          <a:custGeom>
            <a:avLst/>
            <a:gdLst/>
            <a:ahLst/>
            <a:cxnLst/>
            <a:rect l="l" t="t" r="r" b="b"/>
            <a:pathLst>
              <a:path w="396239" h="1002029">
                <a:moveTo>
                  <a:pt x="98966" y="0"/>
                </a:moveTo>
                <a:lnTo>
                  <a:pt x="98966" y="804415"/>
                </a:lnTo>
                <a:lnTo>
                  <a:pt x="0" y="804415"/>
                </a:lnTo>
                <a:lnTo>
                  <a:pt x="197919" y="1001519"/>
                </a:lnTo>
                <a:lnTo>
                  <a:pt x="395839" y="804415"/>
                </a:lnTo>
                <a:lnTo>
                  <a:pt x="296886" y="804415"/>
                </a:lnTo>
                <a:lnTo>
                  <a:pt x="296886" y="0"/>
                </a:lnTo>
              </a:path>
            </a:pathLst>
          </a:custGeom>
          <a:ln w="13957">
            <a:solidFill>
              <a:srgbClr val="1560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709669" y="3319592"/>
            <a:ext cx="1256810" cy="87632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709669" y="3319592"/>
            <a:ext cx="1257300" cy="876935"/>
          </a:xfrm>
          <a:custGeom>
            <a:avLst/>
            <a:gdLst/>
            <a:ahLst/>
            <a:cxnLst/>
            <a:rect l="l" t="t" r="r" b="b"/>
            <a:pathLst>
              <a:path w="1257300" h="876935">
                <a:moveTo>
                  <a:pt x="0" y="876329"/>
                </a:moveTo>
                <a:lnTo>
                  <a:pt x="1256810" y="876329"/>
                </a:lnTo>
                <a:lnTo>
                  <a:pt x="1256810" y="0"/>
                </a:lnTo>
                <a:lnTo>
                  <a:pt x="0" y="0"/>
                </a:lnTo>
                <a:lnTo>
                  <a:pt x="0" y="876329"/>
                </a:lnTo>
                <a:close/>
              </a:path>
            </a:pathLst>
          </a:custGeom>
          <a:ln w="2089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4709669" y="3573964"/>
            <a:ext cx="1257300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383540">
              <a:lnSpc>
                <a:spcPct val="100000"/>
              </a:lnSpc>
              <a:spcBef>
                <a:spcPts val="125"/>
              </a:spcBef>
            </a:pPr>
            <a:r>
              <a:rPr sz="1950" spc="-85" dirty="0">
                <a:solidFill>
                  <a:srgbClr val="FFFFFF"/>
                </a:solidFill>
                <a:latin typeface="Franklin Gothic Medium"/>
                <a:cs typeface="Franklin Gothic Medium"/>
              </a:rPr>
              <a:t>A&amp;AI</a:t>
            </a:r>
            <a:endParaRPr sz="1950">
              <a:latin typeface="Franklin Gothic Medium"/>
              <a:cs typeface="Franklin Gothic Medium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14557" y="1952824"/>
            <a:ext cx="957580" cy="2266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olicy</a:t>
            </a:r>
            <a:r>
              <a:rPr sz="1300" spc="-2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Design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626576" y="2318072"/>
            <a:ext cx="396240" cy="1002030"/>
          </a:xfrm>
          <a:custGeom>
            <a:avLst/>
            <a:gdLst/>
            <a:ahLst/>
            <a:cxnLst/>
            <a:rect l="l" t="t" r="r" b="b"/>
            <a:pathLst>
              <a:path w="396239" h="1002029">
                <a:moveTo>
                  <a:pt x="99008" y="0"/>
                </a:moveTo>
                <a:lnTo>
                  <a:pt x="99008" y="804415"/>
                </a:lnTo>
                <a:lnTo>
                  <a:pt x="0" y="804415"/>
                </a:lnTo>
                <a:lnTo>
                  <a:pt x="197877" y="1001519"/>
                </a:lnTo>
                <a:lnTo>
                  <a:pt x="395895" y="804415"/>
                </a:lnTo>
                <a:lnTo>
                  <a:pt x="296886" y="804415"/>
                </a:lnTo>
                <a:lnTo>
                  <a:pt x="296886" y="0"/>
                </a:lnTo>
              </a:path>
            </a:pathLst>
          </a:custGeom>
          <a:ln w="13957">
            <a:solidFill>
              <a:srgbClr val="1560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2291225" y="1724004"/>
            <a:ext cx="1073785" cy="6280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8575" marR="5080" indent="-16510" algn="just">
              <a:lnSpc>
                <a:spcPct val="101299"/>
              </a:lnSpc>
              <a:spcBef>
                <a:spcPts val="95"/>
              </a:spcBef>
            </a:pPr>
            <a:r>
              <a:rPr sz="130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Service</a:t>
            </a:r>
            <a:r>
              <a:rPr sz="1300" spc="-8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Design  </a:t>
            </a: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with </a:t>
            </a:r>
            <a:r>
              <a:rPr sz="1300" spc="-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reference  to</a:t>
            </a:r>
            <a:r>
              <a:rPr sz="1300" spc="-3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SPPartner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709669" y="5260041"/>
            <a:ext cx="2387939" cy="87632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709669" y="5518958"/>
            <a:ext cx="2388235" cy="32702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697230">
              <a:lnSpc>
                <a:spcPct val="100000"/>
              </a:lnSpc>
              <a:spcBef>
                <a:spcPts val="125"/>
              </a:spcBef>
            </a:pPr>
            <a:r>
              <a:rPr sz="1950" spc="-25" dirty="0">
                <a:solidFill>
                  <a:srgbClr val="FFFFFF"/>
                </a:solidFill>
                <a:latin typeface="Franklin Gothic Medium"/>
                <a:cs typeface="Franklin Gothic Medium"/>
              </a:rPr>
              <a:t>Policy</a:t>
            </a:r>
            <a:r>
              <a:rPr sz="1950" spc="-5" dirty="0">
                <a:solidFill>
                  <a:srgbClr val="FFFFFF"/>
                </a:solidFill>
                <a:latin typeface="Franklin Gothic Medium"/>
                <a:cs typeface="Franklin Gothic Medium"/>
              </a:rPr>
              <a:t> </a:t>
            </a:r>
            <a:r>
              <a:rPr sz="1950" spc="-50" dirty="0">
                <a:solidFill>
                  <a:srgbClr val="FFFFFF"/>
                </a:solidFill>
                <a:latin typeface="Franklin Gothic Medium"/>
                <a:cs typeface="Franklin Gothic Medium"/>
              </a:rPr>
              <a:t>FW</a:t>
            </a:r>
            <a:endParaRPr sz="1950">
              <a:latin typeface="Franklin Gothic Medium"/>
              <a:cs typeface="Franklin Gothic Medium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467140" y="4195922"/>
            <a:ext cx="3242945" cy="1703070"/>
          </a:xfrm>
          <a:custGeom>
            <a:avLst/>
            <a:gdLst/>
            <a:ahLst/>
            <a:cxnLst/>
            <a:rect l="l" t="t" r="r" b="b"/>
            <a:pathLst>
              <a:path w="3242945" h="1703070">
                <a:moveTo>
                  <a:pt x="0" y="0"/>
                </a:moveTo>
                <a:lnTo>
                  <a:pt x="0" y="1602431"/>
                </a:lnTo>
                <a:lnTo>
                  <a:pt x="3041439" y="1602431"/>
                </a:lnTo>
                <a:lnTo>
                  <a:pt x="3041439" y="1702583"/>
                </a:lnTo>
                <a:lnTo>
                  <a:pt x="3242528" y="1502279"/>
                </a:lnTo>
                <a:lnTo>
                  <a:pt x="3041439" y="1301975"/>
                </a:lnTo>
                <a:lnTo>
                  <a:pt x="3041439" y="1402127"/>
                </a:lnTo>
                <a:lnTo>
                  <a:pt x="201089" y="1402127"/>
                </a:lnTo>
                <a:lnTo>
                  <a:pt x="201089" y="0"/>
                </a:lnTo>
              </a:path>
            </a:pathLst>
          </a:custGeom>
          <a:ln w="13921">
            <a:solidFill>
              <a:srgbClr val="1560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2287733" y="5177467"/>
            <a:ext cx="1451610" cy="4273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olicy </a:t>
            </a: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onboarding to</a:t>
            </a:r>
            <a:endParaRPr sz="1300">
              <a:latin typeface="Franklin Gothic Medium"/>
              <a:cs typeface="Franklin Gothic Medium"/>
            </a:endParaRPr>
          </a:p>
          <a:p>
            <a:pPr marL="6350" algn="ctr">
              <a:lnSpc>
                <a:spcPct val="100000"/>
              </a:lnSpc>
              <a:spcBef>
                <a:spcPts val="20"/>
              </a:spcBef>
            </a:pP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olicy</a:t>
            </a:r>
            <a:r>
              <a:rPr sz="1300" spc="2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-3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FW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397007" y="2568452"/>
            <a:ext cx="396240" cy="2691765"/>
          </a:xfrm>
          <a:custGeom>
            <a:avLst/>
            <a:gdLst/>
            <a:ahLst/>
            <a:cxnLst/>
            <a:rect l="l" t="t" r="r" b="b"/>
            <a:pathLst>
              <a:path w="396240" h="2691765">
                <a:moveTo>
                  <a:pt x="99008" y="0"/>
                </a:moveTo>
                <a:lnTo>
                  <a:pt x="99008" y="2494438"/>
                </a:lnTo>
                <a:lnTo>
                  <a:pt x="0" y="2494438"/>
                </a:lnTo>
                <a:lnTo>
                  <a:pt x="197877" y="2691584"/>
                </a:lnTo>
                <a:lnTo>
                  <a:pt x="395895" y="2494438"/>
                </a:lnTo>
                <a:lnTo>
                  <a:pt x="296886" y="2494438"/>
                </a:lnTo>
                <a:lnTo>
                  <a:pt x="296886" y="0"/>
                </a:lnTo>
              </a:path>
            </a:pathLst>
          </a:custGeom>
          <a:ln w="13963">
            <a:solidFill>
              <a:srgbClr val="1560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097609" y="4008137"/>
            <a:ext cx="2136577" cy="87632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097609" y="4008137"/>
            <a:ext cx="2136775" cy="876935"/>
          </a:xfrm>
          <a:custGeom>
            <a:avLst/>
            <a:gdLst/>
            <a:ahLst/>
            <a:cxnLst/>
            <a:rect l="l" t="t" r="r" b="b"/>
            <a:pathLst>
              <a:path w="2136775" h="876935">
                <a:moveTo>
                  <a:pt x="0" y="876329"/>
                </a:moveTo>
                <a:lnTo>
                  <a:pt x="2136577" y="876329"/>
                </a:lnTo>
                <a:lnTo>
                  <a:pt x="2136577" y="0"/>
                </a:lnTo>
                <a:lnTo>
                  <a:pt x="0" y="0"/>
                </a:lnTo>
                <a:lnTo>
                  <a:pt x="0" y="876329"/>
                </a:lnTo>
                <a:close/>
              </a:path>
            </a:pathLst>
          </a:custGeom>
          <a:ln w="2087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7097609" y="4264666"/>
            <a:ext cx="2136775" cy="3263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24765" algn="ctr">
              <a:lnSpc>
                <a:spcPct val="100000"/>
              </a:lnSpc>
              <a:spcBef>
                <a:spcPts val="125"/>
              </a:spcBef>
            </a:pPr>
            <a:r>
              <a:rPr sz="1950" spc="25" dirty="0">
                <a:solidFill>
                  <a:srgbClr val="FFFFFF"/>
                </a:solidFill>
                <a:latin typeface="Franklin Gothic Medium"/>
                <a:cs typeface="Franklin Gothic Medium"/>
              </a:rPr>
              <a:t>SO</a:t>
            </a:r>
            <a:endParaRPr sz="1950">
              <a:latin typeface="Franklin Gothic Medium"/>
              <a:cs typeface="Franklin Gothic Medium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821956" y="2825676"/>
            <a:ext cx="1068705" cy="6280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1299"/>
              </a:lnSpc>
              <a:spcBef>
                <a:spcPts val="95"/>
              </a:spcBef>
            </a:pP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Configuration  </a:t>
            </a:r>
            <a:r>
              <a:rPr sz="130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and 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Guard  </a:t>
            </a: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olicy</a:t>
            </a:r>
            <a:r>
              <a:rPr sz="1300" spc="-3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Creation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004047" y="4448277"/>
            <a:ext cx="2047239" cy="22669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30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Service </a:t>
            </a:r>
            <a:r>
              <a:rPr sz="1300" spc="-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ackage</a:t>
            </a:r>
            <a:r>
              <a:rPr sz="1300" spc="-8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 </a:t>
            </a:r>
            <a:r>
              <a:rPr sz="1300" spc="-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Distribution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970812" y="3103806"/>
            <a:ext cx="542925" cy="22669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30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S</a:t>
            </a:r>
            <a:r>
              <a:rPr sz="1300" spc="-2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e</a:t>
            </a:r>
            <a:r>
              <a:rPr sz="1300" spc="6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r</a:t>
            </a:r>
            <a:r>
              <a:rPr sz="1300" spc="-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v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i</a:t>
            </a:r>
            <a:r>
              <a:rPr sz="1300" spc="-3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c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e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819995" y="3305154"/>
            <a:ext cx="838200" cy="4273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7950">
              <a:lnSpc>
                <a:spcPct val="101299"/>
              </a:lnSpc>
              <a:spcBef>
                <a:spcPts val="95"/>
              </a:spcBef>
            </a:pP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Package  </a:t>
            </a:r>
            <a:r>
              <a:rPr sz="1300" spc="-3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D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i</a:t>
            </a:r>
            <a:r>
              <a:rPr sz="1300" spc="-2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s</a:t>
            </a:r>
            <a:r>
              <a:rPr sz="1300" spc="-1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t</a:t>
            </a:r>
            <a:r>
              <a:rPr sz="1300" spc="5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r</a:t>
            </a:r>
            <a:r>
              <a:rPr sz="1300" spc="-7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i</a:t>
            </a:r>
            <a:r>
              <a:rPr sz="1300" spc="4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b</a:t>
            </a:r>
            <a:r>
              <a:rPr sz="1300" spc="3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u</a:t>
            </a:r>
            <a:r>
              <a:rPr sz="1300" spc="-9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t</a:t>
            </a:r>
            <a:r>
              <a:rPr sz="1300" spc="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i</a:t>
            </a:r>
            <a:r>
              <a:rPr sz="1300" spc="-35" dirty="0">
                <a:solidFill>
                  <a:srgbClr val="136093"/>
                </a:solidFill>
                <a:latin typeface="Franklin Gothic Medium"/>
                <a:cs typeface="Franklin Gothic Medium"/>
              </a:rPr>
              <a:t>o</a:t>
            </a:r>
            <a:r>
              <a:rPr sz="1300" spc="10" dirty="0">
                <a:solidFill>
                  <a:srgbClr val="136093"/>
                </a:solidFill>
                <a:latin typeface="Franklin Gothic Medium"/>
                <a:cs typeface="Franklin Gothic Medium"/>
              </a:rPr>
              <a:t>n</a:t>
            </a:r>
            <a:endParaRPr sz="1300">
              <a:latin typeface="Franklin Gothic Medium"/>
              <a:cs typeface="Franklin Gothic Medium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5004815" y="2583179"/>
            <a:ext cx="417830" cy="706120"/>
          </a:xfrm>
          <a:custGeom>
            <a:avLst/>
            <a:gdLst/>
            <a:ahLst/>
            <a:cxnLst/>
            <a:rect l="l" t="t" r="r" b="b"/>
            <a:pathLst>
              <a:path w="417829" h="706120">
                <a:moveTo>
                  <a:pt x="0" y="496824"/>
                </a:moveTo>
                <a:lnTo>
                  <a:pt x="104394" y="496824"/>
                </a:lnTo>
                <a:lnTo>
                  <a:pt x="104394" y="0"/>
                </a:lnTo>
                <a:lnTo>
                  <a:pt x="313182" y="0"/>
                </a:lnTo>
                <a:lnTo>
                  <a:pt x="313182" y="496824"/>
                </a:lnTo>
                <a:lnTo>
                  <a:pt x="417575" y="496824"/>
                </a:lnTo>
                <a:lnTo>
                  <a:pt x="208787" y="705612"/>
                </a:lnTo>
                <a:lnTo>
                  <a:pt x="0" y="496824"/>
                </a:lnTo>
                <a:close/>
              </a:path>
            </a:pathLst>
          </a:custGeom>
          <a:ln w="12192">
            <a:solidFill>
              <a:srgbClr val="41709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036564" y="1226819"/>
            <a:ext cx="416559" cy="706120"/>
          </a:xfrm>
          <a:custGeom>
            <a:avLst/>
            <a:gdLst/>
            <a:ahLst/>
            <a:cxnLst/>
            <a:rect l="l" t="t" r="r" b="b"/>
            <a:pathLst>
              <a:path w="416560" h="706119">
                <a:moveTo>
                  <a:pt x="0" y="497585"/>
                </a:moveTo>
                <a:lnTo>
                  <a:pt x="104012" y="497585"/>
                </a:lnTo>
                <a:lnTo>
                  <a:pt x="104012" y="0"/>
                </a:lnTo>
                <a:lnTo>
                  <a:pt x="312038" y="0"/>
                </a:lnTo>
                <a:lnTo>
                  <a:pt x="312038" y="497585"/>
                </a:lnTo>
                <a:lnTo>
                  <a:pt x="416051" y="497585"/>
                </a:lnTo>
                <a:lnTo>
                  <a:pt x="208025" y="705612"/>
                </a:lnTo>
                <a:lnTo>
                  <a:pt x="0" y="497585"/>
                </a:lnTo>
                <a:close/>
              </a:path>
            </a:pathLst>
          </a:custGeom>
          <a:ln w="12192">
            <a:solidFill>
              <a:srgbClr val="41709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/>
          <p:nvPr/>
        </p:nvSpPr>
        <p:spPr>
          <a:xfrm>
            <a:off x="6051286" y="608738"/>
            <a:ext cx="284543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35" algn="ctr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Optional Partner information  </a:t>
            </a:r>
            <a:r>
              <a:rPr sz="1800" dirty="0">
                <a:latin typeface="Calibri"/>
                <a:cs typeface="Calibri"/>
              </a:rPr>
              <a:t>and </a:t>
            </a:r>
            <a:r>
              <a:rPr sz="1800" spc="-15" dirty="0">
                <a:latin typeface="Calibri"/>
                <a:cs typeface="Calibri"/>
              </a:rPr>
              <a:t>Policy </a:t>
            </a:r>
            <a:r>
              <a:rPr sz="1800" spc="-10" dirty="0">
                <a:latin typeface="Calibri"/>
                <a:cs typeface="Calibri"/>
              </a:rPr>
              <a:t>information </a:t>
            </a:r>
            <a:r>
              <a:rPr sz="1800" spc="-5" dirty="0">
                <a:latin typeface="Calibri"/>
                <a:cs typeface="Calibri"/>
              </a:rPr>
              <a:t>sharing  </a:t>
            </a:r>
            <a:r>
              <a:rPr sz="1800" spc="-10" dirty="0">
                <a:latin typeface="Calibri"/>
                <a:cs typeface="Calibri"/>
              </a:rPr>
              <a:t>from </a:t>
            </a:r>
            <a:r>
              <a:rPr sz="1800" spc="-5" dirty="0">
                <a:latin typeface="Calibri"/>
                <a:cs typeface="Calibri"/>
              </a:rPr>
              <a:t>OSS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7906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10163958" y="295147"/>
            <a:ext cx="1494874" cy="3124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666601" y="6588200"/>
            <a:ext cx="157479" cy="1114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93903" y="85700"/>
            <a:ext cx="5231834" cy="6905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Onboarding</a:t>
            </a:r>
            <a:r>
              <a:rPr spc="-75" dirty="0"/>
              <a:t> </a:t>
            </a:r>
            <a:r>
              <a:rPr dirty="0"/>
              <a:t>Proces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522758" y="1977940"/>
            <a:ext cx="6333561" cy="3818298"/>
            <a:chOff x="1190645" y="1226819"/>
            <a:chExt cx="8044034" cy="4909551"/>
          </a:xfrm>
        </p:grpSpPr>
        <p:sp>
          <p:nvSpPr>
            <p:cNvPr id="9" name="object 9"/>
            <p:cNvSpPr/>
            <p:nvPr/>
          </p:nvSpPr>
          <p:spPr>
            <a:xfrm>
              <a:off x="2510293" y="4195922"/>
              <a:ext cx="4446905" cy="250825"/>
            </a:xfrm>
            <a:custGeom>
              <a:avLst/>
              <a:gdLst/>
              <a:ahLst/>
              <a:cxnLst/>
              <a:rect l="l" t="t" r="r" b="b"/>
              <a:pathLst>
                <a:path w="4446905" h="250825">
                  <a:moveTo>
                    <a:pt x="0" y="0"/>
                  </a:moveTo>
                  <a:lnTo>
                    <a:pt x="0" y="250379"/>
                  </a:lnTo>
                  <a:lnTo>
                    <a:pt x="4446413" y="250380"/>
                  </a:lnTo>
                </a:path>
              </a:pathLst>
            </a:custGeom>
            <a:ln w="45208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0" name="object 10"/>
            <p:cNvSpPr/>
            <p:nvPr/>
          </p:nvSpPr>
          <p:spPr>
            <a:xfrm>
              <a:off x="6936458" y="4366042"/>
              <a:ext cx="161290" cy="160655"/>
            </a:xfrm>
            <a:custGeom>
              <a:avLst/>
              <a:gdLst/>
              <a:ahLst/>
              <a:cxnLst/>
              <a:rect l="l" t="t" r="r" b="b"/>
              <a:pathLst>
                <a:path w="161290" h="160654">
                  <a:moveTo>
                    <a:pt x="0" y="0"/>
                  </a:moveTo>
                  <a:lnTo>
                    <a:pt x="0" y="160521"/>
                  </a:lnTo>
                  <a:lnTo>
                    <a:pt x="161151" y="80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1" name="object 11"/>
            <p:cNvSpPr/>
            <p:nvPr/>
          </p:nvSpPr>
          <p:spPr>
            <a:xfrm>
              <a:off x="3829902" y="3757757"/>
              <a:ext cx="739140" cy="0"/>
            </a:xfrm>
            <a:custGeom>
              <a:avLst/>
              <a:gdLst/>
              <a:ahLst/>
              <a:cxnLst/>
              <a:rect l="l" t="t" r="r" b="b"/>
              <a:pathLst>
                <a:path w="739139">
                  <a:moveTo>
                    <a:pt x="0" y="0"/>
                  </a:moveTo>
                  <a:lnTo>
                    <a:pt x="738864" y="0"/>
                  </a:lnTo>
                </a:path>
              </a:pathLst>
            </a:custGeom>
            <a:ln w="45207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2" name="object 12"/>
            <p:cNvSpPr/>
            <p:nvPr/>
          </p:nvSpPr>
          <p:spPr>
            <a:xfrm>
              <a:off x="4548518" y="3677496"/>
              <a:ext cx="161290" cy="160655"/>
            </a:xfrm>
            <a:custGeom>
              <a:avLst/>
              <a:gdLst/>
              <a:ahLst/>
              <a:cxnLst/>
              <a:rect l="l" t="t" r="r" b="b"/>
              <a:pathLst>
                <a:path w="161289" h="160654">
                  <a:moveTo>
                    <a:pt x="0" y="0"/>
                  </a:moveTo>
                  <a:lnTo>
                    <a:pt x="0" y="160521"/>
                  </a:lnTo>
                  <a:lnTo>
                    <a:pt x="161151" y="80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3" name="object 13"/>
            <p:cNvSpPr/>
            <p:nvPr/>
          </p:nvSpPr>
          <p:spPr>
            <a:xfrm>
              <a:off x="1190645" y="3319592"/>
              <a:ext cx="2639301" cy="87632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4" name="object 14"/>
            <p:cNvSpPr/>
            <p:nvPr/>
          </p:nvSpPr>
          <p:spPr>
            <a:xfrm>
              <a:off x="1190645" y="3319592"/>
              <a:ext cx="2639695" cy="876935"/>
            </a:xfrm>
            <a:custGeom>
              <a:avLst/>
              <a:gdLst/>
              <a:ahLst/>
              <a:cxnLst/>
              <a:rect l="l" t="t" r="r" b="b"/>
              <a:pathLst>
                <a:path w="2639695" h="876935">
                  <a:moveTo>
                    <a:pt x="0" y="876329"/>
                  </a:moveTo>
                  <a:lnTo>
                    <a:pt x="2639301" y="876329"/>
                  </a:lnTo>
                  <a:lnTo>
                    <a:pt x="2639301" y="0"/>
                  </a:lnTo>
                  <a:lnTo>
                    <a:pt x="0" y="0"/>
                  </a:lnTo>
                  <a:lnTo>
                    <a:pt x="0" y="876329"/>
                  </a:lnTo>
                  <a:close/>
                </a:path>
              </a:pathLst>
            </a:custGeom>
            <a:ln w="2087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1190645" y="3573964"/>
              <a:ext cx="2639695" cy="337201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" algn="ctr">
                <a:lnSpc>
                  <a:spcPct val="100000"/>
                </a:lnSpc>
                <a:spcBef>
                  <a:spcPts val="125"/>
                </a:spcBef>
              </a:pPr>
              <a:r>
                <a:rPr sz="1600" spc="5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SDC</a:t>
              </a:r>
              <a:endParaRPr sz="1600">
                <a:latin typeface="Franklin Gothic Medium"/>
                <a:cs typeface="Franklin Gothic Medium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709669" y="1942502"/>
              <a:ext cx="4524517" cy="62595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7" name="object 17"/>
            <p:cNvSpPr txBox="1"/>
            <p:nvPr/>
          </p:nvSpPr>
          <p:spPr>
            <a:xfrm>
              <a:off x="4709669" y="2068206"/>
              <a:ext cx="4525010" cy="33720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vert="horz" wrap="square" lIns="0" tIns="15875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25"/>
                </a:spcBef>
              </a:pPr>
              <a:r>
                <a:rPr sz="1600" spc="-30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Ext-API</a:t>
              </a:r>
              <a:endParaRPr sz="1600" dirty="0">
                <a:latin typeface="Franklin Gothic Medium"/>
                <a:cs typeface="Franklin Gothic Medium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369765" y="2318072"/>
              <a:ext cx="396240" cy="1002030"/>
            </a:xfrm>
            <a:custGeom>
              <a:avLst/>
              <a:gdLst/>
              <a:ahLst/>
              <a:cxnLst/>
              <a:rect l="l" t="t" r="r" b="b"/>
              <a:pathLst>
                <a:path w="396239" h="1002029">
                  <a:moveTo>
                    <a:pt x="98966" y="0"/>
                  </a:moveTo>
                  <a:lnTo>
                    <a:pt x="98966" y="804415"/>
                  </a:lnTo>
                  <a:lnTo>
                    <a:pt x="0" y="804415"/>
                  </a:lnTo>
                  <a:lnTo>
                    <a:pt x="197919" y="1001519"/>
                  </a:lnTo>
                  <a:lnTo>
                    <a:pt x="395839" y="804415"/>
                  </a:lnTo>
                  <a:lnTo>
                    <a:pt x="296886" y="804415"/>
                  </a:lnTo>
                  <a:lnTo>
                    <a:pt x="296886" y="0"/>
                  </a:lnTo>
                </a:path>
              </a:pathLst>
            </a:custGeom>
            <a:ln w="13957">
              <a:solidFill>
                <a:srgbClr val="156092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9" name="object 19"/>
            <p:cNvSpPr/>
            <p:nvPr/>
          </p:nvSpPr>
          <p:spPr>
            <a:xfrm>
              <a:off x="4709669" y="3319592"/>
              <a:ext cx="1256810" cy="87632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20" name="object 20"/>
            <p:cNvSpPr/>
            <p:nvPr/>
          </p:nvSpPr>
          <p:spPr>
            <a:xfrm>
              <a:off x="4709669" y="3319592"/>
              <a:ext cx="1257300" cy="876935"/>
            </a:xfrm>
            <a:custGeom>
              <a:avLst/>
              <a:gdLst/>
              <a:ahLst/>
              <a:cxnLst/>
              <a:rect l="l" t="t" r="r" b="b"/>
              <a:pathLst>
                <a:path w="1257300" h="876935">
                  <a:moveTo>
                    <a:pt x="0" y="876329"/>
                  </a:moveTo>
                  <a:lnTo>
                    <a:pt x="1256810" y="876329"/>
                  </a:lnTo>
                  <a:lnTo>
                    <a:pt x="1256810" y="0"/>
                  </a:lnTo>
                  <a:lnTo>
                    <a:pt x="0" y="0"/>
                  </a:lnTo>
                  <a:lnTo>
                    <a:pt x="0" y="876329"/>
                  </a:lnTo>
                  <a:close/>
                </a:path>
              </a:pathLst>
            </a:custGeom>
            <a:ln w="208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4709669" y="3573964"/>
              <a:ext cx="1257300" cy="337201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383540">
                <a:lnSpc>
                  <a:spcPct val="100000"/>
                </a:lnSpc>
                <a:spcBef>
                  <a:spcPts val="125"/>
                </a:spcBef>
              </a:pPr>
              <a:r>
                <a:rPr sz="1600" spc="-85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A&amp;AI</a:t>
              </a:r>
              <a:endParaRPr sz="1600">
                <a:latin typeface="Franklin Gothic Medium"/>
                <a:cs typeface="Franklin Gothic Medium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1214557" y="1952824"/>
              <a:ext cx="957579" cy="454273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olicy</a:t>
              </a:r>
              <a:r>
                <a:rPr sz="1100" spc="-2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Design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626576" y="2318072"/>
              <a:ext cx="396240" cy="1002030"/>
            </a:xfrm>
            <a:custGeom>
              <a:avLst/>
              <a:gdLst/>
              <a:ahLst/>
              <a:cxnLst/>
              <a:rect l="l" t="t" r="r" b="b"/>
              <a:pathLst>
                <a:path w="396239" h="1002029">
                  <a:moveTo>
                    <a:pt x="99008" y="0"/>
                  </a:moveTo>
                  <a:lnTo>
                    <a:pt x="99008" y="804415"/>
                  </a:lnTo>
                  <a:lnTo>
                    <a:pt x="0" y="804415"/>
                  </a:lnTo>
                  <a:lnTo>
                    <a:pt x="197877" y="1001519"/>
                  </a:lnTo>
                  <a:lnTo>
                    <a:pt x="395895" y="804415"/>
                  </a:lnTo>
                  <a:lnTo>
                    <a:pt x="296886" y="804415"/>
                  </a:lnTo>
                  <a:lnTo>
                    <a:pt x="296886" y="0"/>
                  </a:lnTo>
                </a:path>
              </a:pathLst>
            </a:custGeom>
            <a:ln w="13957">
              <a:solidFill>
                <a:srgbClr val="156092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2291225" y="1724004"/>
              <a:ext cx="1073785" cy="89486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28575" marR="5080" indent="-16510" algn="just">
                <a:lnSpc>
                  <a:spcPct val="101299"/>
                </a:lnSpc>
                <a:spcBef>
                  <a:spcPts val="95"/>
                </a:spcBef>
              </a:pPr>
              <a:r>
                <a:rPr sz="110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Service</a:t>
              </a:r>
              <a:r>
                <a:rPr sz="1100" spc="-8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Design  </a:t>
              </a: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with </a:t>
              </a:r>
              <a:r>
                <a:rPr sz="1100" spc="-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reference  to</a:t>
              </a:r>
              <a:r>
                <a:rPr sz="1100" spc="-3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SPPartner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709669" y="5260041"/>
              <a:ext cx="2387939" cy="87632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4709669" y="5518958"/>
              <a:ext cx="2388235" cy="337201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697230">
                <a:lnSpc>
                  <a:spcPct val="100000"/>
                </a:lnSpc>
                <a:spcBef>
                  <a:spcPts val="125"/>
                </a:spcBef>
              </a:pPr>
              <a:r>
                <a:rPr sz="1600" spc="-25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Policy</a:t>
              </a:r>
              <a:r>
                <a:rPr sz="1600" spc="-5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600" spc="-50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FW</a:t>
              </a:r>
              <a:endParaRPr sz="1600">
                <a:latin typeface="Franklin Gothic Medium"/>
                <a:cs typeface="Franklin Gothic Medium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1467140" y="4195922"/>
              <a:ext cx="3242945" cy="1703070"/>
            </a:xfrm>
            <a:custGeom>
              <a:avLst/>
              <a:gdLst/>
              <a:ahLst/>
              <a:cxnLst/>
              <a:rect l="l" t="t" r="r" b="b"/>
              <a:pathLst>
                <a:path w="3242945" h="1703070">
                  <a:moveTo>
                    <a:pt x="0" y="0"/>
                  </a:moveTo>
                  <a:lnTo>
                    <a:pt x="0" y="1602431"/>
                  </a:lnTo>
                  <a:lnTo>
                    <a:pt x="3041439" y="1602431"/>
                  </a:lnTo>
                  <a:lnTo>
                    <a:pt x="3041439" y="1702583"/>
                  </a:lnTo>
                  <a:lnTo>
                    <a:pt x="3242528" y="1502279"/>
                  </a:lnTo>
                  <a:lnTo>
                    <a:pt x="3041439" y="1301975"/>
                  </a:lnTo>
                  <a:lnTo>
                    <a:pt x="3041439" y="1402127"/>
                  </a:lnTo>
                  <a:lnTo>
                    <a:pt x="201089" y="1402127"/>
                  </a:lnTo>
                  <a:lnTo>
                    <a:pt x="201089" y="0"/>
                  </a:lnTo>
                </a:path>
              </a:pathLst>
            </a:custGeom>
            <a:ln w="13921">
              <a:solidFill>
                <a:srgbClr val="156092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2287733" y="5177467"/>
              <a:ext cx="1451611" cy="671929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14"/>
                </a:spcBef>
              </a:pP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olicy </a:t>
              </a: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onboarding to</a:t>
              </a:r>
              <a:endParaRPr sz="1100">
                <a:latin typeface="Franklin Gothic Medium"/>
                <a:cs typeface="Franklin Gothic Medium"/>
              </a:endParaRPr>
            </a:p>
            <a:p>
              <a:pPr marL="6350" algn="ctr">
                <a:lnSpc>
                  <a:spcPct val="100000"/>
                </a:lnSpc>
                <a:spcBef>
                  <a:spcPts val="20"/>
                </a:spcBef>
              </a:pP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olicy</a:t>
              </a:r>
              <a:r>
                <a:rPr sz="1100" spc="2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-3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FW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6397007" y="2568452"/>
              <a:ext cx="396240" cy="2691765"/>
            </a:xfrm>
            <a:custGeom>
              <a:avLst/>
              <a:gdLst/>
              <a:ahLst/>
              <a:cxnLst/>
              <a:rect l="l" t="t" r="r" b="b"/>
              <a:pathLst>
                <a:path w="396240" h="2691765">
                  <a:moveTo>
                    <a:pt x="99008" y="0"/>
                  </a:moveTo>
                  <a:lnTo>
                    <a:pt x="99008" y="2494438"/>
                  </a:lnTo>
                  <a:lnTo>
                    <a:pt x="0" y="2494438"/>
                  </a:lnTo>
                  <a:lnTo>
                    <a:pt x="197877" y="2691584"/>
                  </a:lnTo>
                  <a:lnTo>
                    <a:pt x="395895" y="2494438"/>
                  </a:lnTo>
                  <a:lnTo>
                    <a:pt x="296886" y="2494438"/>
                  </a:lnTo>
                  <a:lnTo>
                    <a:pt x="296886" y="0"/>
                  </a:lnTo>
                </a:path>
              </a:pathLst>
            </a:custGeom>
            <a:ln w="13963">
              <a:solidFill>
                <a:srgbClr val="156092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30" name="object 30"/>
            <p:cNvSpPr/>
            <p:nvPr/>
          </p:nvSpPr>
          <p:spPr>
            <a:xfrm>
              <a:off x="7097609" y="4008137"/>
              <a:ext cx="2136577" cy="87632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31" name="object 31"/>
            <p:cNvSpPr/>
            <p:nvPr/>
          </p:nvSpPr>
          <p:spPr>
            <a:xfrm>
              <a:off x="7097609" y="4008137"/>
              <a:ext cx="2136775" cy="876935"/>
            </a:xfrm>
            <a:custGeom>
              <a:avLst/>
              <a:gdLst/>
              <a:ahLst/>
              <a:cxnLst/>
              <a:rect l="l" t="t" r="r" b="b"/>
              <a:pathLst>
                <a:path w="2136775" h="876935">
                  <a:moveTo>
                    <a:pt x="0" y="876329"/>
                  </a:moveTo>
                  <a:lnTo>
                    <a:pt x="2136577" y="876329"/>
                  </a:lnTo>
                  <a:lnTo>
                    <a:pt x="2136577" y="0"/>
                  </a:lnTo>
                  <a:lnTo>
                    <a:pt x="0" y="0"/>
                  </a:lnTo>
                  <a:lnTo>
                    <a:pt x="0" y="876329"/>
                  </a:lnTo>
                  <a:close/>
                </a:path>
              </a:pathLst>
            </a:custGeom>
            <a:ln w="2087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32" name="object 32"/>
            <p:cNvSpPr txBox="1"/>
            <p:nvPr/>
          </p:nvSpPr>
          <p:spPr>
            <a:xfrm>
              <a:off x="7097609" y="4264666"/>
              <a:ext cx="2136775" cy="337201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24765" algn="ctr">
                <a:lnSpc>
                  <a:spcPct val="100000"/>
                </a:lnSpc>
                <a:spcBef>
                  <a:spcPts val="125"/>
                </a:spcBef>
              </a:pPr>
              <a:r>
                <a:rPr sz="1600" spc="25" dirty="0">
                  <a:solidFill>
                    <a:srgbClr val="FFFFFF"/>
                  </a:solidFill>
                  <a:latin typeface="Franklin Gothic Medium"/>
                  <a:cs typeface="Franklin Gothic Medium"/>
                </a:rPr>
                <a:t>SO</a:t>
              </a:r>
              <a:endParaRPr sz="1600">
                <a:latin typeface="Franklin Gothic Medium"/>
                <a:cs typeface="Franklin Gothic Medium"/>
              </a:endParaRPr>
            </a:p>
          </p:txBody>
        </p:sp>
        <p:sp>
          <p:nvSpPr>
            <p:cNvPr id="33" name="object 33"/>
            <p:cNvSpPr txBox="1"/>
            <p:nvPr/>
          </p:nvSpPr>
          <p:spPr>
            <a:xfrm>
              <a:off x="6821956" y="2825676"/>
              <a:ext cx="1068705" cy="89486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algn="ctr">
                <a:lnSpc>
                  <a:spcPct val="101299"/>
                </a:lnSpc>
                <a:spcBef>
                  <a:spcPts val="95"/>
                </a:spcBef>
              </a:pP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Configuration  </a:t>
              </a:r>
              <a:r>
                <a:rPr sz="110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and 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Guard  </a:t>
              </a: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olicy</a:t>
              </a:r>
              <a:r>
                <a:rPr sz="1100" spc="-3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Creation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>
              <a:off x="4004047" y="4448277"/>
              <a:ext cx="2047239" cy="454273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4"/>
                </a:spcBef>
              </a:pPr>
              <a:r>
                <a:rPr sz="110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Service </a:t>
              </a:r>
              <a:r>
                <a:rPr sz="1100" spc="-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ackage</a:t>
              </a:r>
              <a:r>
                <a:rPr sz="1100" spc="-8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 </a:t>
              </a:r>
              <a:r>
                <a:rPr sz="1100" spc="-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Distribution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3970812" y="3103806"/>
              <a:ext cx="542925" cy="455098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20"/>
                </a:spcBef>
              </a:pPr>
              <a:r>
                <a:rPr sz="110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S</a:t>
              </a:r>
              <a:r>
                <a:rPr sz="1100" spc="-2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e</a:t>
              </a:r>
              <a:r>
                <a:rPr sz="1100" spc="6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r</a:t>
              </a:r>
              <a:r>
                <a:rPr sz="1100" spc="-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v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i</a:t>
              </a:r>
              <a:r>
                <a:rPr sz="1100" spc="-3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c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e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36" name="object 36"/>
            <p:cNvSpPr txBox="1"/>
            <p:nvPr/>
          </p:nvSpPr>
          <p:spPr>
            <a:xfrm>
              <a:off x="3819994" y="3305153"/>
              <a:ext cx="838200" cy="67506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107950">
                <a:lnSpc>
                  <a:spcPct val="101299"/>
                </a:lnSpc>
                <a:spcBef>
                  <a:spcPts val="95"/>
                </a:spcBef>
              </a:pP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Package  </a:t>
              </a:r>
              <a:r>
                <a:rPr sz="1100" spc="-3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D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i</a:t>
              </a:r>
              <a:r>
                <a:rPr sz="1100" spc="-2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s</a:t>
              </a:r>
              <a:r>
                <a:rPr sz="1100" spc="-1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t</a:t>
              </a:r>
              <a:r>
                <a:rPr sz="1100" spc="5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r</a:t>
              </a:r>
              <a:r>
                <a:rPr sz="1100" spc="-7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i</a:t>
              </a:r>
              <a:r>
                <a:rPr sz="1100" spc="4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b</a:t>
              </a:r>
              <a:r>
                <a:rPr sz="1100" spc="3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u</a:t>
              </a:r>
              <a:r>
                <a:rPr sz="1100" spc="-9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t</a:t>
              </a:r>
              <a:r>
                <a:rPr sz="1100" spc="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i</a:t>
              </a:r>
              <a:r>
                <a:rPr sz="1100" spc="-35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o</a:t>
              </a:r>
              <a:r>
                <a:rPr sz="1100" spc="10" dirty="0">
                  <a:solidFill>
                    <a:srgbClr val="136093"/>
                  </a:solidFill>
                  <a:latin typeface="Franklin Gothic Medium"/>
                  <a:cs typeface="Franklin Gothic Medium"/>
                </a:rPr>
                <a:t>n</a:t>
              </a:r>
              <a:endParaRPr sz="1100">
                <a:latin typeface="Franklin Gothic Medium"/>
                <a:cs typeface="Franklin Gothic Medium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5004815" y="2583179"/>
              <a:ext cx="417830" cy="706120"/>
            </a:xfrm>
            <a:custGeom>
              <a:avLst/>
              <a:gdLst/>
              <a:ahLst/>
              <a:cxnLst/>
              <a:rect l="l" t="t" r="r" b="b"/>
              <a:pathLst>
                <a:path w="417829" h="706120">
                  <a:moveTo>
                    <a:pt x="0" y="496824"/>
                  </a:moveTo>
                  <a:lnTo>
                    <a:pt x="104394" y="496824"/>
                  </a:lnTo>
                  <a:lnTo>
                    <a:pt x="104394" y="0"/>
                  </a:lnTo>
                  <a:lnTo>
                    <a:pt x="313182" y="0"/>
                  </a:lnTo>
                  <a:lnTo>
                    <a:pt x="313182" y="496824"/>
                  </a:lnTo>
                  <a:lnTo>
                    <a:pt x="417575" y="496824"/>
                  </a:lnTo>
                  <a:lnTo>
                    <a:pt x="208787" y="705612"/>
                  </a:lnTo>
                  <a:lnTo>
                    <a:pt x="0" y="496824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38" name="object 38"/>
            <p:cNvSpPr/>
            <p:nvPr/>
          </p:nvSpPr>
          <p:spPr>
            <a:xfrm>
              <a:off x="6036564" y="1226819"/>
              <a:ext cx="416559" cy="706120"/>
            </a:xfrm>
            <a:custGeom>
              <a:avLst/>
              <a:gdLst/>
              <a:ahLst/>
              <a:cxnLst/>
              <a:rect l="l" t="t" r="r" b="b"/>
              <a:pathLst>
                <a:path w="416560" h="706119">
                  <a:moveTo>
                    <a:pt x="0" y="497585"/>
                  </a:moveTo>
                  <a:lnTo>
                    <a:pt x="104012" y="497585"/>
                  </a:lnTo>
                  <a:lnTo>
                    <a:pt x="104012" y="0"/>
                  </a:lnTo>
                  <a:lnTo>
                    <a:pt x="312038" y="0"/>
                  </a:lnTo>
                  <a:lnTo>
                    <a:pt x="312038" y="497585"/>
                  </a:lnTo>
                  <a:lnTo>
                    <a:pt x="416051" y="497585"/>
                  </a:lnTo>
                  <a:lnTo>
                    <a:pt x="208025" y="705612"/>
                  </a:lnTo>
                  <a:lnTo>
                    <a:pt x="0" y="497585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z="1400"/>
            </a:p>
          </p:txBody>
        </p:sp>
      </p:grpSp>
      <p:sp>
        <p:nvSpPr>
          <p:cNvPr id="4" name="Rectangle 3"/>
          <p:cNvSpPr/>
          <p:nvPr/>
        </p:nvSpPr>
        <p:spPr>
          <a:xfrm>
            <a:off x="4406537" y="1977940"/>
            <a:ext cx="6853646" cy="39787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7981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V&amp;V Platform Adapter Sequence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569107" y="1678818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853107" y="1038987"/>
            <a:ext cx="1462469" cy="639831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chemeClr val="bg1"/>
                </a:solidFill>
              </a:rPr>
              <a:t>Curat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5515" y="1051683"/>
            <a:ext cx="1462469" cy="639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rgbClr val="666666"/>
                </a:solidFill>
              </a:rPr>
              <a:t>External API</a:t>
            </a:r>
            <a:endParaRPr lang="en-US" sz="1400" dirty="0">
              <a:solidFill>
                <a:srgbClr val="66666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330927" y="1040721"/>
            <a:ext cx="1462469" cy="639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rgbClr val="666666"/>
                </a:solidFill>
              </a:rPr>
              <a:t>SO</a:t>
            </a:r>
            <a:endParaRPr lang="en-US" sz="1400" dirty="0">
              <a:solidFill>
                <a:srgbClr val="66666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901542" y="1050810"/>
            <a:ext cx="1462469" cy="639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rgbClr val="666666"/>
                </a:solidFill>
              </a:rPr>
              <a:t>A&amp;AI</a:t>
            </a:r>
            <a:endParaRPr lang="en-US" sz="1400" dirty="0">
              <a:solidFill>
                <a:srgbClr val="666666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26759" y="1678818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500533" y="1680551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8055379" y="1678733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0" y="2195043"/>
            <a:ext cx="15691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9993" y="1721329"/>
            <a:ext cx="1107996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900" dirty="0" smtClean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est	</a:t>
            </a:r>
            <a:endParaRPr lang="en-US" sz="9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1599575" y="2347383"/>
            <a:ext cx="14551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5049767" y="2499723"/>
            <a:ext cx="149996" cy="167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endParaRPr lang="en-US" sz="1799">
              <a:solidFill>
                <a:srgbClr val="666666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811961" y="1903780"/>
            <a:ext cx="1191352" cy="4467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900" dirty="0" smtClean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stantiate Service</a:t>
            </a:r>
            <a:endParaRPr lang="en-US" sz="9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484487" y="5655429"/>
            <a:ext cx="149996" cy="167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endParaRPr lang="en-US" sz="1799">
              <a:solidFill>
                <a:srgbClr val="666666"/>
              </a:solidFill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3177733" y="1678818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4082008" y="1036834"/>
            <a:ext cx="1540091" cy="6398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rgbClr val="666666"/>
                </a:solidFill>
              </a:rPr>
              <a:t>SDC</a:t>
            </a:r>
            <a:endParaRPr lang="en-US" sz="1400" dirty="0">
              <a:solidFill>
                <a:srgbClr val="666666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285966" y="2154496"/>
            <a:ext cx="1577676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1000" dirty="0" smtClean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nboard VNF Package</a:t>
            </a:r>
            <a:endParaRPr lang="en-US" sz="10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 flipV="1">
            <a:off x="3177734" y="2552373"/>
            <a:ext cx="1661148" cy="79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2423061" y="1041401"/>
            <a:ext cx="1540091" cy="639831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r>
              <a:rPr lang="en-US" sz="1400" dirty="0" smtClean="0">
                <a:solidFill>
                  <a:schemeClr val="bg1"/>
                </a:solidFill>
              </a:rPr>
              <a:t>Platform </a:t>
            </a:r>
          </a:p>
          <a:p>
            <a:pPr algn="ctr" defTabSz="914089"/>
            <a:r>
              <a:rPr lang="en-US" sz="1400" dirty="0" smtClean="0">
                <a:solidFill>
                  <a:schemeClr val="bg1"/>
                </a:solidFill>
              </a:rPr>
              <a:t>Adapto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315912" y="5053531"/>
            <a:ext cx="1527982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1000" dirty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locate Core Domain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3152437" y="5483602"/>
            <a:ext cx="6465928" cy="1023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9623216" y="1659690"/>
            <a:ext cx="0" cy="51778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H="1">
            <a:off x="1580557" y="6395192"/>
            <a:ext cx="1473180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846721" y="5947703"/>
            <a:ext cx="1032655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900" dirty="0" err="1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NetworkSliceID</a:t>
            </a:r>
            <a:endParaRPr lang="en-US" sz="9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66" name="Straight Arrow Connector 65"/>
          <p:cNvCxnSpPr/>
          <p:nvPr/>
        </p:nvCxnSpPr>
        <p:spPr>
          <a:xfrm flipH="1">
            <a:off x="-25136" y="6497385"/>
            <a:ext cx="1571883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593452" y="6080343"/>
            <a:ext cx="352982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900" dirty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K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746495" y="6102286"/>
            <a:ext cx="149996" cy="167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endParaRPr lang="en-US" sz="1799">
              <a:solidFill>
                <a:srgbClr val="666666"/>
              </a:solidFill>
            </a:endParaRPr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3162532" y="6005679"/>
            <a:ext cx="6455835" cy="2790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3246144" y="5563784"/>
            <a:ext cx="1327608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1000" dirty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nfigure </a:t>
            </a:r>
            <a:r>
              <a:rPr lang="en-US" sz="1000" dirty="0" err="1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ubslice</a:t>
            </a:r>
            <a:endParaRPr lang="en-US" sz="10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073287" y="2273084"/>
            <a:ext cx="198624" cy="4169669"/>
          </a:xfrm>
          <a:prstGeom prst="rect">
            <a:avLst/>
          </a:prstGeom>
          <a:solidFill>
            <a:srgbClr val="EA00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endParaRPr lang="en-US" sz="1799">
              <a:solidFill>
                <a:srgbClr val="666666"/>
              </a:solidFill>
            </a:endParaRPr>
          </a:p>
        </p:txBody>
      </p:sp>
      <p:cxnSp>
        <p:nvCxnSpPr>
          <p:cNvPr id="80" name="Straight Arrow Connector 79"/>
          <p:cNvCxnSpPr/>
          <p:nvPr/>
        </p:nvCxnSpPr>
        <p:spPr>
          <a:xfrm flipH="1" flipV="1">
            <a:off x="3295817" y="5704010"/>
            <a:ext cx="6327233" cy="3360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8323375" y="5328387"/>
            <a:ext cx="817853" cy="52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1000" dirty="0" err="1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ubSliceID</a:t>
            </a:r>
            <a:endParaRPr lang="en-US" sz="10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82" name="Straight Arrow Connector 81"/>
          <p:cNvCxnSpPr/>
          <p:nvPr/>
        </p:nvCxnSpPr>
        <p:spPr>
          <a:xfrm flipH="1" flipV="1">
            <a:off x="3297411" y="5072187"/>
            <a:ext cx="1638743" cy="2145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3662606" y="4647939"/>
            <a:ext cx="817533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89">
              <a:lnSpc>
                <a:spcPts val="3439"/>
              </a:lnSpc>
            </a:pPr>
            <a:r>
              <a:rPr lang="en-US" sz="1000" dirty="0" err="1" smtClean="0">
                <a:solidFill>
                  <a:srgbClr val="1D1D1A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nfd</a:t>
            </a:r>
            <a:endParaRPr lang="en-US" sz="1000" dirty="0">
              <a:solidFill>
                <a:srgbClr val="1D1D1A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4866816" y="2478243"/>
            <a:ext cx="120573" cy="2662512"/>
          </a:xfrm>
          <a:prstGeom prst="rect">
            <a:avLst/>
          </a:prstGeom>
          <a:solidFill>
            <a:schemeClr val="tx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89"/>
            <a:endParaRPr lang="en-US" sz="1799">
              <a:solidFill>
                <a:srgbClr val="66666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69133" y="460695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dirty="0" smtClean="0"/>
              <a:t>ONAP</a:t>
            </a:r>
            <a:endParaRPr lang="en-IE" dirty="0"/>
          </a:p>
        </p:txBody>
      </p:sp>
      <p:sp>
        <p:nvSpPr>
          <p:cNvPr id="14" name="Right Brace 13"/>
          <p:cNvSpPr/>
          <p:nvPr/>
        </p:nvSpPr>
        <p:spPr>
          <a:xfrm rot="16200000">
            <a:off x="7151588" y="-2143808"/>
            <a:ext cx="172788" cy="60755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4" name="TextBox 3"/>
          <p:cNvSpPr txBox="1"/>
          <p:nvPr/>
        </p:nvSpPr>
        <p:spPr>
          <a:xfrm rot="20397567">
            <a:off x="1882753" y="2022713"/>
            <a:ext cx="5427498" cy="221599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IE" sz="13800" dirty="0" smtClean="0"/>
              <a:t>TODO</a:t>
            </a:r>
            <a:endParaRPr lang="en-IE" sz="13800" dirty="0"/>
          </a:p>
        </p:txBody>
      </p:sp>
    </p:spTree>
    <p:extLst>
      <p:ext uri="{BB962C8B-B14F-4D97-AF65-F5344CB8AC3E}">
        <p14:creationId xmlns:p14="http://schemas.microsoft.com/office/powerpoint/2010/main" val="78966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E" dirty="0" smtClean="0"/>
              <a:t>Onboard an App, Configure Service and Deploy!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IE" dirty="0" smtClean="0"/>
              <a:t>Complete 8 Exercises</a:t>
            </a:r>
          </a:p>
          <a:p>
            <a:endParaRPr lang="en-IE" dirty="0" smtClean="0"/>
          </a:p>
          <a:p>
            <a:endParaRPr lang="en-IE" dirty="0"/>
          </a:p>
          <a:p>
            <a:r>
              <a:rPr lang="en-IE" dirty="0" smtClean="0"/>
              <a:t>Exercises 1 to 6 </a:t>
            </a:r>
            <a:endParaRPr lang="en-IE" dirty="0"/>
          </a:p>
          <a:p>
            <a:pPr marL="355268" indent="-342900">
              <a:buFont typeface="+mj-lt"/>
              <a:buAutoNum type="arabicPeriod"/>
            </a:pPr>
            <a:r>
              <a:rPr lang="en-IE" dirty="0" smtClean="0"/>
              <a:t>SDC </a:t>
            </a:r>
            <a:r>
              <a:rPr lang="en-IE" dirty="0"/>
              <a:t>: vendor, VSP, zip file upload, VF from VSP, Service, add VF to Service</a:t>
            </a:r>
          </a:p>
          <a:p>
            <a:pPr marL="355268" indent="-342900">
              <a:buFont typeface="+mj-lt"/>
              <a:buAutoNum type="arabicPeriod"/>
            </a:pPr>
            <a:r>
              <a:rPr lang="en-IE" dirty="0"/>
              <a:t>VID : </a:t>
            </a:r>
            <a:r>
              <a:rPr lang="en-IE" dirty="0" err="1"/>
              <a:t>OwningEntity</a:t>
            </a:r>
            <a:r>
              <a:rPr lang="en-IE" dirty="0"/>
              <a:t>, </a:t>
            </a:r>
            <a:r>
              <a:rPr lang="en-IE" dirty="0" err="1"/>
              <a:t>LineOfBusiness</a:t>
            </a:r>
            <a:r>
              <a:rPr lang="en-IE" dirty="0"/>
              <a:t>, Project, Platform</a:t>
            </a:r>
          </a:p>
          <a:p>
            <a:pPr marL="355268" indent="-342900">
              <a:buFont typeface="+mj-lt"/>
              <a:buAutoNum type="arabicPeriod"/>
            </a:pPr>
            <a:r>
              <a:rPr lang="en-IE" dirty="0"/>
              <a:t>AAI : customer, subscription, cloud region, tenant</a:t>
            </a:r>
          </a:p>
          <a:p>
            <a:pPr marL="355268" indent="-342900">
              <a:buFont typeface="+mj-lt"/>
              <a:buAutoNum type="arabicPeriod"/>
            </a:pPr>
            <a:r>
              <a:rPr lang="en-IE" dirty="0"/>
              <a:t>NBI : </a:t>
            </a:r>
            <a:r>
              <a:rPr lang="en-IE" dirty="0" err="1"/>
              <a:t>serviceOrder</a:t>
            </a:r>
            <a:r>
              <a:rPr lang="en-IE" dirty="0"/>
              <a:t> to add a service instance, </a:t>
            </a:r>
            <a:r>
              <a:rPr lang="en-IE" dirty="0" err="1"/>
              <a:t>serviceOrder</a:t>
            </a:r>
            <a:r>
              <a:rPr lang="en-IE" dirty="0"/>
              <a:t> to delete a service </a:t>
            </a:r>
            <a:r>
              <a:rPr lang="en-IE" dirty="0" smtClean="0"/>
              <a:t>instance</a:t>
            </a:r>
          </a:p>
          <a:p>
            <a:pPr marL="355268" indent="-342900">
              <a:buFont typeface="+mj-lt"/>
              <a:buAutoNum type="arabicPeriod"/>
            </a:pPr>
            <a:endParaRPr lang="en-IE" dirty="0"/>
          </a:p>
          <a:p>
            <a:r>
              <a:rPr lang="en-IE" dirty="0"/>
              <a:t>The order is very important because a lot of API </a:t>
            </a:r>
            <a:r>
              <a:rPr lang="en-IE" dirty="0" smtClean="0"/>
              <a:t>requests </a:t>
            </a:r>
            <a:r>
              <a:rPr lang="en-IE" dirty="0"/>
              <a:t>will need the API response from the previous operation. </a:t>
            </a:r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19611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</a:t>
            </a:r>
            <a:r>
              <a:rPr lang="en-IE" dirty="0" smtClean="0"/>
              <a:t>vendor</a:t>
            </a:r>
            <a:r>
              <a:rPr lang="en-IE" dirty="0"/>
              <a:t>, VSP, zip file </a:t>
            </a:r>
            <a:r>
              <a:rPr lang="en-IE" dirty="0" smtClean="0"/>
              <a:t>upload.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Exercises 1 -4 :Create a Vendor and Onboard VSP</a:t>
            </a:r>
            <a:endParaRPr lang="en-US" sz="4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296782"/>
              </p:ext>
            </p:extLst>
          </p:nvPr>
        </p:nvGraphicFramePr>
        <p:xfrm>
          <a:off x="304800" y="1209757"/>
          <a:ext cx="11369964" cy="4818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201"/>
                <a:gridCol w="1532708"/>
                <a:gridCol w="687977"/>
                <a:gridCol w="834107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ndor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endor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license-models</a:t>
                      </a:r>
                      <a:endParaRPr lang="en-US" sz="11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eate Vendor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license-model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ubmit Vendor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license-model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ndor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ndor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boardVSP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</a:t>
                      </a:r>
                      <a:r>
                        <a:rPr lang="en-IE" sz="1400" baseline="0" dirty="0" smtClean="0"/>
                        <a:t> VSP</a:t>
                      </a:r>
                      <a:endParaRPr lang="en-IE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</a:t>
                      </a:r>
                      <a:endParaRPr lang="en-IE" sz="1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</a:t>
                      </a:r>
                      <a:endParaRPr lang="en-IE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eate VSP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SP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ersion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item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SP Statu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item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56098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boardVSP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pload Zip with HEAT file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orchestration-template-candidate</a:t>
                      </a:r>
                      <a:endParaRPr lang="en-US" sz="11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boardVSP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cess VSP zip fil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orchestration-template-candidate/proces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mit VSP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item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ubmit VSP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SAR VSP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versions/{{</a:t>
                      </a:r>
                      <a:r>
                        <a:rPr lang="en-IE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p_version_id</a:t>
                      </a:r>
                      <a:r>
                        <a:rPr lang="en-IE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actions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25692" y="1907017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1</a:t>
            </a:r>
          </a:p>
        </p:txBody>
      </p:sp>
      <p:sp>
        <p:nvSpPr>
          <p:cNvPr id="9" name="Flowchart: Connector 8"/>
          <p:cNvSpPr/>
          <p:nvPr/>
        </p:nvSpPr>
        <p:spPr>
          <a:xfrm>
            <a:off x="18286" y="2649319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2</a:t>
            </a:r>
          </a:p>
        </p:txBody>
      </p:sp>
      <p:sp>
        <p:nvSpPr>
          <p:cNvPr id="10" name="Flowchart: Connector 9"/>
          <p:cNvSpPr/>
          <p:nvPr/>
        </p:nvSpPr>
        <p:spPr>
          <a:xfrm>
            <a:off x="27862" y="4247979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3</a:t>
            </a:r>
          </a:p>
        </p:txBody>
      </p:sp>
      <p:sp>
        <p:nvSpPr>
          <p:cNvPr id="11" name="Flowchart: Connector 10"/>
          <p:cNvSpPr/>
          <p:nvPr/>
        </p:nvSpPr>
        <p:spPr>
          <a:xfrm>
            <a:off x="18286" y="4607618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4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9451238" y="747711"/>
            <a:ext cx="2284765" cy="343764"/>
            <a:chOff x="5867400" y="513497"/>
            <a:chExt cx="1713575" cy="257823"/>
          </a:xfrm>
        </p:grpSpPr>
        <p:sp>
          <p:nvSpPr>
            <p:cNvPr id="15" name="Flowchart: Connector 14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096000" y="513497"/>
              <a:ext cx="14849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xercise Script to run 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3785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VFs, certify VF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Exercises 5:Create a Vendor and Onboard VSP</a:t>
            </a:r>
            <a:endParaRPr lang="en-US" sz="4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5993"/>
              </p:ext>
            </p:extLst>
          </p:nvPr>
        </p:nvGraphicFramePr>
        <p:xfrm>
          <a:off x="304800" y="1209757"/>
          <a:ext cx="11369964" cy="331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201"/>
                <a:gridCol w="1532708"/>
                <a:gridCol w="687977"/>
                <a:gridCol w="834107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F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F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l-sdc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c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s?resourceType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VF</a:t>
                      </a:r>
                      <a:endParaRPr lang="en-US" sz="10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P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SP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software-products</a:t>
                      </a:r>
                      <a:endParaRPr lang="en-US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SP Version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items/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vsp_id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ersions</a:t>
                      </a:r>
                      <a:endParaRPr lang="en-US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LM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</a:t>
                      </a:r>
                      <a:r>
                        <a:rPr lang="en-IE" sz="1400" baseline="0" dirty="0" smtClean="0"/>
                        <a:t> VLM</a:t>
                      </a:r>
                      <a:endParaRPr lang="en-IE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</a:t>
                      </a:r>
                      <a:endParaRPr lang="en-IE" sz="1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-api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.0/vendor-license-models</a:t>
                      </a:r>
                      <a:endParaRPr lang="en-IE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F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eate VF resourc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ources</a:t>
                      </a:r>
                      <a:endParaRPr lang="en-US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heckin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F resourc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l-sdc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c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ources/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vf_uuid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cycleState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in</a:t>
                      </a:r>
                      <a:endParaRPr lang="en-US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rtify VF resourc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ources/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4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vf_unique_id</a:t>
                      </a:r>
                      <a:r>
                        <a:rPr lang="en-IE" sz="14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cycleState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certify</a:t>
                      </a:r>
                      <a:endParaRPr lang="en-US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VF by 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niqueid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U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ources/{{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vf_unique_id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</a:t>
                      </a:r>
                      <a:r>
                        <a:rPr lang="en-IE" sz="14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lteredDataByParams?include</a:t>
                      </a:r>
                      <a:r>
                        <a:rPr lang="en-IE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metadata</a:t>
                      </a:r>
                      <a:endParaRPr lang="en-US" sz="14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25692" y="1907017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 smtClean="0"/>
              <a:t>5</a:t>
            </a:r>
            <a:endParaRPr lang="en-US" sz="2133" dirty="0"/>
          </a:p>
        </p:txBody>
      </p:sp>
      <p:grpSp>
        <p:nvGrpSpPr>
          <p:cNvPr id="23" name="Group 22"/>
          <p:cNvGrpSpPr/>
          <p:nvPr/>
        </p:nvGrpSpPr>
        <p:grpSpPr>
          <a:xfrm>
            <a:off x="9451238" y="747711"/>
            <a:ext cx="2284765" cy="343764"/>
            <a:chOff x="5867400" y="513497"/>
            <a:chExt cx="1713575" cy="257823"/>
          </a:xfrm>
        </p:grpSpPr>
        <p:sp>
          <p:nvSpPr>
            <p:cNvPr id="24" name="Flowchart: Connector 23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096000" y="513497"/>
              <a:ext cx="14849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xercise Script to run 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5866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Use the following APIs to </a:t>
            </a:r>
            <a:r>
              <a:rPr lang="en-US" dirty="0" smtClean="0"/>
              <a:t>create VFs, certify VF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Exercises 6: Onboard a Service</a:t>
            </a:r>
            <a:endParaRPr lang="en-US" sz="40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193170"/>
              </p:ext>
            </p:extLst>
          </p:nvPr>
        </p:nvGraphicFramePr>
        <p:xfrm>
          <a:off x="304800" y="1209757"/>
          <a:ext cx="11369964" cy="3832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8201"/>
                <a:gridCol w="1532708"/>
                <a:gridCol w="687977"/>
                <a:gridCol w="8341078"/>
              </a:tblGrid>
              <a:tr h="345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tegory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I</a:t>
                      </a:r>
                      <a:r>
                        <a:rPr lang="zh-CN" alt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tion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t Services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l-sdc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c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</a:t>
                      </a:r>
                      <a:endParaRPr lang="en-US" sz="7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P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eate a Servic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</a:t>
                      </a:r>
                      <a:endParaRPr lang="en-US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IE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heck VF exists and get </a:t>
                      </a:r>
                      <a:r>
                        <a:rPr lang="en-IE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uid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GE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l-sdc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dc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ources/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vf_uuid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metadata</a:t>
                      </a:r>
                      <a:endParaRPr lang="en-US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altLang="zh-CN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F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  VF </a:t>
                      </a:r>
                      <a:r>
                        <a:rPr lang="en-IE" sz="1400" dirty="0" err="1" smtClean="0"/>
                        <a:t>uniqueId</a:t>
                      </a:r>
                      <a:endParaRPr lang="en-IE" sz="1400" dirty="0"/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r>
                        <a:rPr lang="en-IE" sz="1400" dirty="0" smtClean="0"/>
                        <a:t>GET</a:t>
                      </a:r>
                      <a:endParaRPr lang="en-IE" sz="1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reen?excludeTypes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FCMT&amp;excludeTypes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Configuration</a:t>
                      </a:r>
                      <a:endParaRPr lang="en-IE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row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d VF to Servic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unique_id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Instance</a:t>
                      </a:r>
                      <a:endParaRPr lang="en-US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ubmit for testing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unique_id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cycleState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rtificationRequest</a:t>
                      </a:r>
                      <a:endParaRPr lang="en-US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rt Certification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unique_id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cycleState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Certification</a:t>
                      </a:r>
                      <a:endParaRPr lang="en-US" sz="7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rtify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</a:t>
                      </a:r>
                      <a:r>
                        <a:rPr lang="en-IE" sz="12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unique_id</a:t>
                      </a:r>
                      <a:r>
                        <a:rPr lang="en-IE" sz="12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cycleState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certify</a:t>
                      </a:r>
                      <a:endParaRPr lang="en-US" sz="105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stribution 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rouve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{url-sdc2}}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{{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new_unique_id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distribution-state/approve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  <a:tr h="345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12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宋体" panose="02010600030101010101" pitchFamily="2" charset="-122"/>
                          <a:cs typeface="Calibri" panose="020F0502020204030204" pitchFamily="34" charset="0"/>
                        </a:rPr>
                        <a:t>POST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{url-sdc2}}/sdc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Proxy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rest/v1/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alog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services/{{</a:t>
                      </a:r>
                      <a:r>
                        <a:rPr lang="en-IE" sz="12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_service_new_unique_id</a:t>
                      </a:r>
                      <a:r>
                        <a:rPr lang="en-IE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}}/distribution/PROD/activate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</a:tr>
            </a:tbl>
          </a:graphicData>
        </a:graphic>
      </p:graphicFrame>
      <p:sp>
        <p:nvSpPr>
          <p:cNvPr id="8" name="Flowchart: Connector 7"/>
          <p:cNvSpPr/>
          <p:nvPr/>
        </p:nvSpPr>
        <p:spPr>
          <a:xfrm>
            <a:off x="25692" y="1907017"/>
            <a:ext cx="304800" cy="31819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33" dirty="0"/>
              <a:t>6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451238" y="747711"/>
            <a:ext cx="2284765" cy="343764"/>
            <a:chOff x="5867400" y="513497"/>
            <a:chExt cx="1713575" cy="257823"/>
          </a:xfrm>
        </p:grpSpPr>
        <p:sp>
          <p:nvSpPr>
            <p:cNvPr id="24" name="Flowchart: Connector 23"/>
            <p:cNvSpPr/>
            <p:nvPr/>
          </p:nvSpPr>
          <p:spPr>
            <a:xfrm>
              <a:off x="5867400" y="532673"/>
              <a:ext cx="228600" cy="238647"/>
            </a:xfrm>
            <a:prstGeom prst="flowChartConnector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133" dirty="0"/>
                <a:t>#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096000" y="513497"/>
              <a:ext cx="148497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xercise Script to run 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3890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ojo naranja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gTANGO_template" id="{5897BC0A-49BE-9E48-817F-AFE3D574D103}" vid="{2BD44C92-EBB0-564B-9A8C-75D107D9C8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5gTANGO_template</Template>
  <TotalTime>3986</TotalTime>
  <Words>1140</Words>
  <Application>Microsoft Office PowerPoint</Application>
  <PresentationFormat>Widescreen</PresentationFormat>
  <Paragraphs>430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Microsoft YaHei</vt:lpstr>
      <vt:lpstr>宋体</vt:lpstr>
      <vt:lpstr>Arial</vt:lpstr>
      <vt:lpstr>Calibri</vt:lpstr>
      <vt:lpstr>Calibri Light</vt:lpstr>
      <vt:lpstr>Courier New</vt:lpstr>
      <vt:lpstr>DengXian</vt:lpstr>
      <vt:lpstr>Franklin Gothic Medium</vt:lpstr>
      <vt:lpstr>Times New Roman</vt:lpstr>
      <vt:lpstr>Office Theme</vt:lpstr>
      <vt:lpstr>think-cell Slide</vt:lpstr>
      <vt:lpstr>ONAP API Walkthrough</vt:lpstr>
      <vt:lpstr>Service Onboarding and Instantiation</vt:lpstr>
      <vt:lpstr>Onboarding Process</vt:lpstr>
      <vt:lpstr>Onboarding Process</vt:lpstr>
      <vt:lpstr>PowerPoint Presentation</vt:lpstr>
      <vt:lpstr>PowerPoint Presentation</vt:lpstr>
      <vt:lpstr>Exercises 1 -4 :Create a Vendor and Onboard VSP</vt:lpstr>
      <vt:lpstr>Exercises 5:Create a Vendor and Onboard VSP</vt:lpstr>
      <vt:lpstr>Exercises 6: Onboard a Service</vt:lpstr>
      <vt:lpstr>Exercise 7: VID Line OF Business</vt:lpstr>
      <vt:lpstr>Exercise 7: VID, Virtual Infrastructure Deployment</vt:lpstr>
      <vt:lpstr>ONAP Design Time</vt:lpstr>
      <vt:lpstr>Example Tests using Simple VNFs</vt:lpstr>
    </vt:vector>
  </TitlesOfParts>
  <Company>Huawei Technologies Co.,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in McDonnell</dc:creator>
  <cp:lastModifiedBy>Kevin McDonnell</cp:lastModifiedBy>
  <cp:revision>24</cp:revision>
  <dcterms:created xsi:type="dcterms:W3CDTF">2019-07-01T13:36:49Z</dcterms:created>
  <dcterms:modified xsi:type="dcterms:W3CDTF">2019-07-05T06:5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338308343</vt:i4>
  </property>
  <property fmtid="{D5CDD505-2E9C-101B-9397-08002B2CF9AE}" pid="3" name="_NewReviewCycle">
    <vt:lpwstr/>
  </property>
  <property fmtid="{D5CDD505-2E9C-101B-9397-08002B2CF9AE}" pid="4" name="_EmailSubject">
    <vt:lpwstr>5Gtango template + slides</vt:lpwstr>
  </property>
  <property fmtid="{D5CDD505-2E9C-101B-9397-08002B2CF9AE}" pid="5" name="_AuthorEmail">
    <vt:lpwstr>josep.martrat@atos.net</vt:lpwstr>
  </property>
  <property fmtid="{D5CDD505-2E9C-101B-9397-08002B2CF9AE}" pid="6" name="_AuthorEmailDisplayName">
    <vt:lpwstr>Martrat, Josep</vt:lpwstr>
  </property>
  <property fmtid="{D5CDD505-2E9C-101B-9397-08002B2CF9AE}" pid="7" name="_PreviousAdHocReviewCycleID">
    <vt:i4>1167859085</vt:i4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2228468</vt:lpwstr>
  </property>
</Properties>
</file>